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bookmarkIdSeed="3">
  <p:sldMasterIdLst>
    <p:sldMasterId id="2147483648" r:id="rId1"/>
    <p:sldMasterId id="2147483659" r:id="rId3"/>
    <p:sldMasterId id="2147483668" r:id="rId4"/>
  </p:sldMasterIdLst>
  <p:notesMasterIdLst>
    <p:notesMasterId r:id="rId18"/>
  </p:notesMasterIdLst>
  <p:sldIdLst>
    <p:sldId id="1647" r:id="rId5"/>
    <p:sldId id="838" r:id="rId6"/>
    <p:sldId id="1449" r:id="rId7"/>
    <p:sldId id="1143" r:id="rId8"/>
    <p:sldId id="1722" r:id="rId9"/>
    <p:sldId id="1731" r:id="rId10"/>
    <p:sldId id="1634" r:id="rId11"/>
    <p:sldId id="1730" r:id="rId12"/>
    <p:sldId id="1645" r:id="rId13"/>
    <p:sldId id="1646" r:id="rId14"/>
    <p:sldId id="1640" r:id="rId15"/>
    <p:sldId id="1446" r:id="rId16"/>
    <p:sldId id="842" r:id="rId17"/>
    <p:sldId id="1649" r:id="rId19"/>
    <p:sldId id="841" r:id="rId20"/>
    <p:sldId id="671" r:id="rId21"/>
    <p:sldId id="845" r:id="rId22"/>
    <p:sldId id="847" r:id="rId23"/>
    <p:sldId id="864" r:id="rId24"/>
    <p:sldId id="609" r:id="rId25"/>
  </p:sldIdLst>
  <p:sldSz cx="9144000" cy="5143500" type="screen16x9"/>
  <p:notesSz cx="6797675" cy="9926320"/>
  <p:defaultTextStyle>
    <a:defPPr>
      <a:defRPr lang="ko-KR"/>
    </a:defPPr>
    <a:lvl1pPr algn="l" rtl="0" eaLnBrk="0" fontAlgn="base" hangingPunct="0">
      <a:spcBef>
        <a:spcPct val="0"/>
      </a:spcBef>
      <a:spcAft>
        <a:spcPct val="0"/>
      </a:spcAft>
      <a:defRPr kern="1200">
        <a:solidFill>
          <a:schemeClr val="tx1"/>
        </a:solidFill>
        <a:latin typeface="Arial" panose="020B0604020202020204" pitchFamily="34" charset="0"/>
        <a:ea typeface="Roboto Condensed Light" pitchFamily="2" charset="0"/>
        <a:cs typeface="Roboto Condensed Light" pitchFamily="2"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Roboto Condensed Light" pitchFamily="2" charset="0"/>
        <a:cs typeface="Roboto Condensed Light" pitchFamily="2"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Roboto Condensed Light" pitchFamily="2" charset="0"/>
        <a:cs typeface="Roboto Condensed Light" pitchFamily="2"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Roboto Condensed Light" pitchFamily="2" charset="0"/>
        <a:cs typeface="Roboto Condensed Light" pitchFamily="2"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Roboto Condensed Light" pitchFamily="2" charset="0"/>
        <a:cs typeface="Roboto Condensed Light" pitchFamily="2" charset="0"/>
      </a:defRPr>
    </a:lvl5pPr>
    <a:lvl6pPr marL="2286000" algn="l" defTabSz="914400" rtl="0" eaLnBrk="1" latinLnBrk="0" hangingPunct="1">
      <a:defRPr kern="1200">
        <a:solidFill>
          <a:schemeClr val="tx1"/>
        </a:solidFill>
        <a:latin typeface="Arial" panose="020B0604020202020204" pitchFamily="34" charset="0"/>
        <a:ea typeface="Roboto Condensed Light" pitchFamily="2" charset="0"/>
        <a:cs typeface="Roboto Condensed Light" pitchFamily="2" charset="0"/>
      </a:defRPr>
    </a:lvl6pPr>
    <a:lvl7pPr marL="2743200" algn="l" defTabSz="914400" rtl="0" eaLnBrk="1" latinLnBrk="0" hangingPunct="1">
      <a:defRPr kern="1200">
        <a:solidFill>
          <a:schemeClr val="tx1"/>
        </a:solidFill>
        <a:latin typeface="Arial" panose="020B0604020202020204" pitchFamily="34" charset="0"/>
        <a:ea typeface="Roboto Condensed Light" pitchFamily="2" charset="0"/>
        <a:cs typeface="Roboto Condensed Light" pitchFamily="2" charset="0"/>
      </a:defRPr>
    </a:lvl7pPr>
    <a:lvl8pPr marL="3200400" algn="l" defTabSz="914400" rtl="0" eaLnBrk="1" latinLnBrk="0" hangingPunct="1">
      <a:defRPr kern="1200">
        <a:solidFill>
          <a:schemeClr val="tx1"/>
        </a:solidFill>
        <a:latin typeface="Arial" panose="020B0604020202020204" pitchFamily="34" charset="0"/>
        <a:ea typeface="Roboto Condensed Light" pitchFamily="2" charset="0"/>
        <a:cs typeface="Roboto Condensed Light" pitchFamily="2" charset="0"/>
      </a:defRPr>
    </a:lvl8pPr>
    <a:lvl9pPr marL="3657600" algn="l" defTabSz="914400" rtl="0" eaLnBrk="1" latinLnBrk="0" hangingPunct="1">
      <a:defRPr kern="1200">
        <a:solidFill>
          <a:schemeClr val="tx1"/>
        </a:solidFill>
        <a:latin typeface="Arial" panose="020B0604020202020204" pitchFamily="34" charset="0"/>
        <a:ea typeface="Roboto Condensed Light" pitchFamily="2" charset="0"/>
        <a:cs typeface="Roboto Condensed Light" pitchFamily="2" charset="0"/>
      </a:defRPr>
    </a:lvl9pPr>
  </p:defaultTextStyle>
  <p:extLst>
    <p:ext uri="{521415D9-36F7-43E2-AB2F-B90AF26B5E84}">
      <p14:sectionLst xmlns:p14="http://schemas.microsoft.com/office/powerpoint/2010/main">
        <p14:section name="Default Section" id="{BA0BBCC3-0325-4BE4-8031-5FEA2A503748}">
          <p14:sldIdLst>
            <p14:sldId id="1647"/>
            <p14:sldId id="838"/>
            <p14:sldId id="1449"/>
            <p14:sldId id="1143"/>
            <p14:sldId id="1722"/>
            <p14:sldId id="1731"/>
            <p14:sldId id="1634"/>
            <p14:sldId id="1730"/>
            <p14:sldId id="1645"/>
            <p14:sldId id="1646"/>
            <p14:sldId id="1640"/>
            <p14:sldId id="1446"/>
            <p14:sldId id="842"/>
            <p14:sldId id="1649"/>
            <p14:sldId id="841"/>
            <p14:sldId id="671"/>
            <p14:sldId id="845"/>
            <p14:sldId id="847"/>
            <p14:sldId id="864"/>
            <p14:sldId id="609"/>
          </p14:sldIdLst>
        </p14:section>
        <p14:section name="Untitled Section" id="{0DFABA57-AC20-4A83-BBF0-05304BBF15F9}">
          <p14:sldIdLst/>
        </p14:section>
      </p14:sectionLst>
    </p:ext>
    <p:ext uri="{EFAFB233-063F-42B5-8137-9DF3F51BA10A}">
      <p15:sldGuideLst xmlns:p15="http://schemas.microsoft.com/office/powerpoint/2012/main">
        <p15:guide id="1" orient="horz" pos="441" userDrawn="1">
          <p15:clr>
            <a:srgbClr val="A4A3A4"/>
          </p15:clr>
        </p15:guide>
        <p15:guide id="2" orient="horz" pos="210" userDrawn="1">
          <p15:clr>
            <a:srgbClr val="A4A3A4"/>
          </p15:clr>
        </p15:guide>
        <p15:guide id="3" orient="horz" pos="3003" userDrawn="1">
          <p15:clr>
            <a:srgbClr val="A4A3A4"/>
          </p15:clr>
        </p15:guide>
        <p15:guide id="4" orient="horz" pos="3117" userDrawn="1">
          <p15:clr>
            <a:srgbClr val="A4A3A4"/>
          </p15:clr>
        </p15:guide>
        <p15:guide id="5" orient="horz" pos="940" userDrawn="1">
          <p15:clr>
            <a:srgbClr val="A4A3A4"/>
          </p15:clr>
        </p15:guide>
        <p15:guide id="6" orient="horz" pos="1439" userDrawn="1">
          <p15:clr>
            <a:srgbClr val="A4A3A4"/>
          </p15:clr>
        </p15:guide>
        <p15:guide id="7" orient="horz" pos="1891" userDrawn="1">
          <p15:clr>
            <a:srgbClr val="A4A3A4"/>
          </p15:clr>
        </p15:guide>
        <p15:guide id="8" pos="453" userDrawn="1">
          <p15:clr>
            <a:srgbClr val="A4A3A4"/>
          </p15:clr>
        </p15:guide>
        <p15:guide id="9" pos="3648" userDrawn="1">
          <p15:clr>
            <a:srgbClr val="A4A3A4"/>
          </p15:clr>
        </p15:guide>
        <p15:guide id="10" pos="2813" userDrawn="1">
          <p15:clr>
            <a:srgbClr val="A4A3A4"/>
          </p15:clr>
        </p15:guide>
        <p15:guide id="11" pos="5307" userDrawn="1">
          <p15:clr>
            <a:srgbClr val="A4A3A4"/>
          </p15:clr>
        </p15:guide>
        <p15:guide id="12" pos="4195" userDrawn="1">
          <p15:clr>
            <a:srgbClr val="A4A3A4"/>
          </p15:clr>
        </p15:guide>
        <p15:guide id="13" pos="2111" userDrawn="1">
          <p15:clr>
            <a:srgbClr val="A4A3A4"/>
          </p15:clr>
        </p15:guide>
        <p15:guide id="14" pos="2947" userDrawn="1">
          <p15:clr>
            <a:srgbClr val="A4A3A4"/>
          </p15:clr>
        </p15:guide>
        <p15:guide id="15" pos="1975" userDrawn="1">
          <p15:clr>
            <a:srgbClr val="A4A3A4"/>
          </p15:clr>
        </p15:guide>
        <p15:guide id="16" pos="15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A290"/>
    <a:srgbClr val="FF5050"/>
    <a:srgbClr val="4AB38B"/>
    <a:srgbClr val="FFCC99"/>
    <a:srgbClr val="2F3540"/>
    <a:srgbClr val="FF6600"/>
    <a:srgbClr val="9CF2A6"/>
    <a:srgbClr val="FFFF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271" autoAdjust="0"/>
    <p:restoredTop sz="99885" autoAdjust="0"/>
  </p:normalViewPr>
  <p:slideViewPr>
    <p:cSldViewPr showGuides="1">
      <p:cViewPr varScale="1">
        <p:scale>
          <a:sx n="84" d="100"/>
          <a:sy n="84" d="100"/>
        </p:scale>
        <p:origin x="868" y="56"/>
      </p:cViewPr>
      <p:guideLst>
        <p:guide orient="horz" pos="441"/>
        <p:guide orient="horz" pos="210"/>
        <p:guide orient="horz" pos="3003"/>
        <p:guide orient="horz" pos="3117"/>
        <p:guide orient="horz" pos="940"/>
        <p:guide orient="horz" pos="1439"/>
        <p:guide orient="horz" pos="1891"/>
        <p:guide pos="453"/>
        <p:guide pos="3648"/>
        <p:guide pos="2813"/>
        <p:guide pos="5307"/>
        <p:guide pos="4195"/>
        <p:guide pos="2111"/>
        <p:guide pos="2947"/>
        <p:guide pos="1975"/>
        <p:guide pos="158"/>
      </p:guideLst>
    </p:cSldViewPr>
  </p:slideViewPr>
  <p:notesTextViewPr>
    <p:cViewPr>
      <p:scale>
        <a:sx n="1" d="1"/>
        <a:sy n="1" d="1"/>
      </p:scale>
      <p:origin x="0" y="0"/>
    </p:cViewPr>
  </p:notesTextViewPr>
  <p:sorterViewPr>
    <p:cViewPr>
      <p:scale>
        <a:sx n="110" d="100"/>
        <a:sy n="110" d="100"/>
      </p:scale>
      <p:origin x="0" y="1116"/>
    </p:cViewPr>
  </p:sorterViewPr>
  <p:gridSpacing cx="72010" cy="7201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slide" Target="slides/slide1.xml"/><Relationship Id="rId4" Type="http://schemas.openxmlformats.org/officeDocument/2006/relationships/slideMaster" Target="slideMasters/slideMaster3.xml"/><Relationship Id="rId3" Type="http://schemas.openxmlformats.org/officeDocument/2006/relationships/slideMaster" Target="slideMasters/slideMaster2.xml"/><Relationship Id="rId28" Type="http://schemas.openxmlformats.org/officeDocument/2006/relationships/tableStyles" Target="tableStyles.xml"/><Relationship Id="rId27" Type="http://schemas.openxmlformats.org/officeDocument/2006/relationships/viewProps" Target="viewProps.xml"/><Relationship Id="rId26" Type="http://schemas.openxmlformats.org/officeDocument/2006/relationships/presProps" Target="presProps.xml"/><Relationship Id="rId25" Type="http://schemas.openxmlformats.org/officeDocument/2006/relationships/slide" Target="slides/slide20.xml"/><Relationship Id="rId24" Type="http://schemas.openxmlformats.org/officeDocument/2006/relationships/slide" Target="slides/slide19.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notesMaster" Target="notesMasters/notesMaster1.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file:///C:\Users\pawankumar\AppData\Local\Microsoft\Windows\INetCache\Content.Outlook\C1TEKGY6\Equity%20Dashboard_May'2022.xlsx" TargetMode="External"/></Relationships>
</file>

<file path=ppt/charts/_rels/chart3.xml.rels><?xml version="1.0" encoding="UTF-8" standalone="yes"?>
<Relationships xmlns="http://schemas.openxmlformats.org/package/2006/relationships"><Relationship Id="rId4" Type="http://schemas.microsoft.com/office/2011/relationships/chartColorStyle" Target="colors3.xml"/><Relationship Id="rId3" Type="http://schemas.microsoft.com/office/2011/relationships/chartStyle" Target="style3.xml"/><Relationship Id="rId2" Type="http://schemas.openxmlformats.org/officeDocument/2006/relationships/themeOverride" Target="../theme/themeOverride1.xml"/><Relationship Id="rId1" Type="http://schemas.openxmlformats.org/officeDocument/2006/relationships/package" Target="../embeddings/Workbook2.xlsx"/></Relationships>
</file>

<file path=ppt/charts/_rels/chart4.xml.rels><?xml version="1.0" encoding="UTF-8" standalone="yes"?>
<Relationships xmlns="http://schemas.openxmlformats.org/package/2006/relationships"><Relationship Id="rId4" Type="http://schemas.microsoft.com/office/2011/relationships/chartColorStyle" Target="colors4.xml"/><Relationship Id="rId3" Type="http://schemas.microsoft.com/office/2011/relationships/chartStyle" Target="style4.xml"/><Relationship Id="rId2" Type="http://schemas.openxmlformats.org/officeDocument/2006/relationships/themeOverride" Target="../theme/themeOverride2.xml"/><Relationship Id="rId1" Type="http://schemas.openxmlformats.org/officeDocument/2006/relationships/package" Target="../embeddings/Workbook3.xlsx"/></Relationships>
</file>

<file path=ppt/charts/_rels/chart5.xml.rels><?xml version="1.0" encoding="UTF-8" standalone="yes"?>
<Relationships xmlns="http://schemas.openxmlformats.org/package/2006/relationships"><Relationship Id="rId4" Type="http://schemas.microsoft.com/office/2011/relationships/chartColorStyle" Target="colors5.xml"/><Relationship Id="rId3" Type="http://schemas.microsoft.com/office/2011/relationships/chartStyle" Target="style5.xml"/><Relationship Id="rId2" Type="http://schemas.openxmlformats.org/officeDocument/2006/relationships/themeOverride" Target="../theme/themeOverride3.xml"/><Relationship Id="rId1" Type="http://schemas.openxmlformats.org/officeDocument/2006/relationships/package" Target="../embeddings/Workbook4.xlsx"/></Relationships>
</file>

<file path=ppt/charts/_rels/chart6.xml.rels><?xml version="1.0" encoding="UTF-8" standalone="yes"?>
<Relationships xmlns="http://schemas.openxmlformats.org/package/2006/relationships"><Relationship Id="rId4" Type="http://schemas.microsoft.com/office/2011/relationships/chartColorStyle" Target="colors6.xml"/><Relationship Id="rId3" Type="http://schemas.microsoft.com/office/2011/relationships/chartStyle" Target="style6.xml"/><Relationship Id="rId2" Type="http://schemas.openxmlformats.org/officeDocument/2006/relationships/themeOverride" Target="../theme/themeOverride4.xml"/><Relationship Id="rId1" Type="http://schemas.openxmlformats.org/officeDocument/2006/relationships/package" Target="../embeddings/Workbook5.xlsx"/></Relationships>
</file>

<file path=ppt/charts/_rels/chart7.xml.rels><?xml version="1.0" encoding="UTF-8" standalone="yes"?>
<Relationships xmlns="http://schemas.openxmlformats.org/package/2006/relationships"><Relationship Id="rId4" Type="http://schemas.microsoft.com/office/2011/relationships/chartColorStyle" Target="colors7.xml"/><Relationship Id="rId3" Type="http://schemas.microsoft.com/office/2011/relationships/chartStyle" Target="style7.xml"/><Relationship Id="rId2" Type="http://schemas.openxmlformats.org/officeDocument/2006/relationships/themeOverride" Target="../theme/themeOverride5.xml"/><Relationship Id="rId1" Type="http://schemas.openxmlformats.org/officeDocument/2006/relationships/package" Target="../embeddings/Workbook6.xlsx"/></Relationships>
</file>

<file path=ppt/charts/_rels/chart8.xml.rels><?xml version="1.0" encoding="UTF-8" standalone="yes"?>
<Relationships xmlns="http://schemas.openxmlformats.org/package/2006/relationships"><Relationship Id="rId4" Type="http://schemas.microsoft.com/office/2011/relationships/chartColorStyle" Target="colors8.xml"/><Relationship Id="rId3" Type="http://schemas.microsoft.com/office/2011/relationships/chartStyle" Target="style8.xml"/><Relationship Id="rId2" Type="http://schemas.openxmlformats.org/officeDocument/2006/relationships/themeOverride" Target="../theme/themeOverride7.xml"/><Relationship Id="rId1" Type="http://schemas.openxmlformats.org/officeDocument/2006/relationships/package" Target="../embeddings/Workbook7.xlsx"/></Relationships>
</file>

<file path=ppt/charts/_rels/chart9.xml.rels><?xml version="1.0" encoding="UTF-8" standalone="yes"?>
<Relationships xmlns="http://schemas.openxmlformats.org/package/2006/relationships"><Relationship Id="rId4" Type="http://schemas.microsoft.com/office/2011/relationships/chartColorStyle" Target="colors9.xml"/><Relationship Id="rId3" Type="http://schemas.microsoft.com/office/2011/relationships/chartStyle" Target="style9.xml"/><Relationship Id="rId2" Type="http://schemas.openxmlformats.org/officeDocument/2006/relationships/themeOverride" Target="../theme/themeOverride8.xml"/><Relationship Id="rId1" Type="http://schemas.openxmlformats.org/officeDocument/2006/relationships/package" Target="../embeddings/Workbook8.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GB" sz="1400" b="1" i="0" u="none" strike="noStrike" kern="1200" spc="0" baseline="0">
                <a:solidFill>
                  <a:schemeClr val="accent1">
                    <a:lumMod val="75000"/>
                  </a:schemeClr>
                </a:solidFill>
                <a:latin typeface="Calibri" panose="020F0502020204030204" pitchFamily="34" charset="0"/>
                <a:ea typeface="+mn-ea"/>
                <a:cs typeface="Calibri" panose="020F0502020204030204" pitchFamily="34" charset="0"/>
              </a:defRPr>
            </a:pPr>
            <a:r>
              <a:rPr lang="en-IN" b="1" dirty="0">
                <a:solidFill>
                  <a:schemeClr val="accent1">
                    <a:lumMod val="75000"/>
                  </a:schemeClr>
                </a:solidFill>
              </a:rPr>
              <a:t>Beta by Market-cap</a:t>
            </a:r>
            <a:endParaRPr lang="en-IN" b="1" dirty="0">
              <a:solidFill>
                <a:schemeClr val="accent1">
                  <a:lumMod val="75000"/>
                </a:schemeClr>
              </a:solidFill>
            </a:endParaRPr>
          </a:p>
        </c:rich>
      </c:tx>
      <c:layout/>
      <c:overlay val="0"/>
      <c:spPr>
        <a:noFill/>
        <a:ln>
          <a:noFill/>
        </a:ln>
        <a:effectLst/>
      </c:spPr>
    </c:title>
    <c:autoTitleDeleted val="0"/>
    <c:plotArea>
      <c:layout/>
      <c:lineChart>
        <c:grouping val="standard"/>
        <c:varyColors val="0"/>
        <c:ser>
          <c:idx val="0"/>
          <c:order val="0"/>
          <c:spPr>
            <a:ln w="12700" cap="rnd">
              <a:solidFill>
                <a:schemeClr val="accent1"/>
              </a:solidFill>
              <a:prstDash val="dash"/>
              <a:round/>
            </a:ln>
            <a:effectLst/>
          </c:spPr>
          <c:marker>
            <c:symbol val="none"/>
          </c:marker>
          <c:dLbls>
            <c:spPr>
              <a:noFill/>
              <a:ln>
                <a:noFill/>
              </a:ln>
              <a:effectLst/>
            </c:spPr>
            <c:txPr>
              <a:bodyPr rot="0" spcFirstLastPara="1" vertOverflow="ellipsis" vert="horz" wrap="square" lIns="38100" tIns="19050" rIns="38100" bIns="19050" anchor="ctr" anchorCtr="1"/>
              <a:lstStyle/>
              <a:p>
                <a:pPr>
                  <a:defRPr lang="en-GB"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G$8:$G$10</c:f>
              <c:strCache>
                <c:ptCount val="3"/>
                <c:pt idx="0">
                  <c:v>Large-cap</c:v>
                </c:pt>
                <c:pt idx="1">
                  <c:v>Mid-cap</c:v>
                </c:pt>
                <c:pt idx="2">
                  <c:v>Small-cap</c:v>
                </c:pt>
              </c:strCache>
            </c:strRef>
          </c:cat>
          <c:val>
            <c:numRef>
              <c:f>Sheet4!$H$8:$H$10</c:f>
              <c:numCache>
                <c:formatCode>General</c:formatCode>
                <c:ptCount val="3"/>
                <c:pt idx="0">
                  <c:v>0.95</c:v>
                </c:pt>
                <c:pt idx="1">
                  <c:v>1.05</c:v>
                </c:pt>
                <c:pt idx="2">
                  <c:v>1.1</c:v>
                </c:pt>
              </c:numCache>
            </c:numRef>
          </c:val>
          <c:smooth val="0"/>
        </c:ser>
        <c:dLbls>
          <c:showLegendKey val="0"/>
          <c:showVal val="1"/>
          <c:showCatName val="0"/>
          <c:showSerName val="0"/>
          <c:showPercent val="0"/>
          <c:showBubbleSize val="0"/>
        </c:dLbls>
        <c:marker val="0"/>
        <c:smooth val="0"/>
        <c:axId val="849393071"/>
        <c:axId val="853513759"/>
      </c:lineChart>
      <c:catAx>
        <c:axId val="8493930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GB" sz="10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crossAx val="853513759"/>
        <c:crosses val="autoZero"/>
        <c:auto val="1"/>
        <c:lblAlgn val="ctr"/>
        <c:lblOffset val="100"/>
        <c:noMultiLvlLbl val="0"/>
      </c:catAx>
      <c:valAx>
        <c:axId val="85351375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GB" sz="9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crossAx val="849393071"/>
        <c:crosses val="autoZero"/>
        <c:crossBetween val="between"/>
      </c:valAx>
      <c:spPr>
        <a:noFill/>
        <a:ln>
          <a:noFill/>
        </a:ln>
        <a:effectLst/>
      </c:spPr>
    </c:plotArea>
    <c:plotVisOnly val="1"/>
    <c:dispBlanksAs val="gap"/>
    <c:showDLblsOverMax val="0"/>
    <c:extLst>
      <c:ext uri="{0b15fc19-7d7d-44ad-8c2d-2c3a37ce22c3}">
        <chartProps xmlns="https://web.wps.cn/et/2018/main" chartId="{4ee75959-5beb-4185-b4a5-f4ba895dbda4}"/>
      </c:ext>
    </c:extLst>
  </c:chart>
  <c:spPr>
    <a:noFill/>
    <a:ln>
      <a:noFill/>
    </a:ln>
    <a:effectLst/>
  </c:spPr>
  <c:txPr>
    <a:bodyPr/>
    <a:lstStyle/>
    <a:p>
      <a:pPr>
        <a:defRPr lang="en-GB">
          <a:latin typeface="Calibri" panose="020F0502020204030204" pitchFamily="34" charset="0"/>
          <a:cs typeface="Calibri" panose="020F0502020204030204" pitchFamily="34" charset="0"/>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GB" sz="1400" b="1" i="0" u="none" strike="noStrike" kern="1200" spc="0" baseline="0">
                <a:solidFill>
                  <a:schemeClr val="accent1">
                    <a:lumMod val="75000"/>
                  </a:schemeClr>
                </a:solidFill>
                <a:latin typeface="Calibri" panose="020F0502020204030204" pitchFamily="34" charset="0"/>
                <a:ea typeface="+mn-ea"/>
                <a:cs typeface="Calibri" panose="020F0502020204030204" pitchFamily="34" charset="0"/>
              </a:defRPr>
            </a:pPr>
            <a:r>
              <a:rPr lang="en-IN" b="1" dirty="0">
                <a:solidFill>
                  <a:schemeClr val="accent1">
                    <a:lumMod val="75000"/>
                  </a:schemeClr>
                </a:solidFill>
              </a:rPr>
              <a:t>Beta by Portfolio style</a:t>
            </a:r>
            <a:endParaRPr lang="en-IN" b="1" dirty="0">
              <a:solidFill>
                <a:schemeClr val="accent1">
                  <a:lumMod val="75000"/>
                </a:schemeClr>
              </a:solidFill>
            </a:endParaRPr>
          </a:p>
        </c:rich>
      </c:tx>
      <c:layout/>
      <c:overlay val="0"/>
      <c:spPr>
        <a:noFill/>
        <a:ln>
          <a:noFill/>
        </a:ln>
        <a:effectLst/>
      </c:spPr>
    </c:title>
    <c:autoTitleDeleted val="0"/>
    <c:plotArea>
      <c:layout>
        <c:manualLayout>
          <c:layoutTarget val="inner"/>
          <c:xMode val="edge"/>
          <c:yMode val="edge"/>
          <c:x val="0.101563508188847"/>
          <c:y val="0.136465149482351"/>
          <c:w val="0.862162790244789"/>
          <c:h val="0.726429823593933"/>
        </c:manualLayout>
      </c:layout>
      <c:lineChart>
        <c:grouping val="standard"/>
        <c:varyColors val="0"/>
        <c:ser>
          <c:idx val="0"/>
          <c:order val="0"/>
          <c:spPr>
            <a:ln w="12700" cap="rnd">
              <a:solidFill>
                <a:schemeClr val="accent1"/>
              </a:solidFill>
              <a:prstDash val="dash"/>
              <a:round/>
            </a:ln>
            <a:effectLst/>
          </c:spPr>
          <c:marker>
            <c:symbol val="none"/>
          </c:marker>
          <c:dLbls>
            <c:spPr>
              <a:noFill/>
              <a:ln>
                <a:noFill/>
              </a:ln>
              <a:effectLst/>
            </c:spPr>
            <c:txPr>
              <a:bodyPr rot="0" spcFirstLastPara="1" vertOverflow="ellipsis" vert="horz" wrap="square" lIns="38100" tIns="19050" rIns="38100" bIns="19050" anchor="ctr" anchorCtr="1"/>
              <a:lstStyle/>
              <a:p>
                <a:pPr>
                  <a:defRPr lang="en-GB" sz="9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N$8:$N$10</c:f>
              <c:strCache>
                <c:ptCount val="3"/>
                <c:pt idx="0">
                  <c:v>Growth</c:v>
                </c:pt>
                <c:pt idx="1">
                  <c:v>GARP</c:v>
                </c:pt>
                <c:pt idx="2">
                  <c:v>Value</c:v>
                </c:pt>
              </c:strCache>
            </c:strRef>
          </c:cat>
          <c:val>
            <c:numRef>
              <c:f>Sheet4!$O$8:$O$10</c:f>
              <c:numCache>
                <c:formatCode>General</c:formatCode>
                <c:ptCount val="3"/>
                <c:pt idx="0">
                  <c:v>0.85</c:v>
                </c:pt>
                <c:pt idx="1">
                  <c:v>1</c:v>
                </c:pt>
                <c:pt idx="2">
                  <c:v>1.1</c:v>
                </c:pt>
              </c:numCache>
            </c:numRef>
          </c:val>
          <c:smooth val="0"/>
        </c:ser>
        <c:dLbls>
          <c:showLegendKey val="0"/>
          <c:showVal val="0"/>
          <c:showCatName val="0"/>
          <c:showSerName val="0"/>
          <c:showPercent val="0"/>
          <c:showBubbleSize val="0"/>
        </c:dLbls>
        <c:marker val="0"/>
        <c:smooth val="0"/>
        <c:axId val="849414671"/>
        <c:axId val="947701519"/>
      </c:lineChart>
      <c:catAx>
        <c:axId val="849414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GB" sz="10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crossAx val="947701519"/>
        <c:crosses val="autoZero"/>
        <c:auto val="1"/>
        <c:lblAlgn val="ctr"/>
        <c:lblOffset val="100"/>
        <c:noMultiLvlLbl val="0"/>
      </c:catAx>
      <c:valAx>
        <c:axId val="947701519"/>
        <c:scaling>
          <c:orientation val="minMax"/>
          <c:min val="0.8"/>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GB" sz="10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crossAx val="849414671"/>
        <c:crosses val="autoZero"/>
        <c:crossBetween val="between"/>
      </c:valAx>
      <c:spPr>
        <a:noFill/>
        <a:ln>
          <a:noFill/>
        </a:ln>
        <a:effectLst/>
      </c:spPr>
    </c:plotArea>
    <c:plotVisOnly val="1"/>
    <c:dispBlanksAs val="gap"/>
    <c:showDLblsOverMax val="0"/>
    <c:extLst>
      <c:ext uri="{0b15fc19-7d7d-44ad-8c2d-2c3a37ce22c3}">
        <chartProps xmlns="https://web.wps.cn/et/2018/main" chartId="{a1fc1a0a-5a38-4b33-bf2d-3f7860ebbc3c}"/>
      </c:ext>
    </c:extLst>
  </c:chart>
  <c:spPr>
    <a:noFill/>
    <a:ln>
      <a:noFill/>
    </a:ln>
    <a:effectLst/>
  </c:spPr>
  <c:txPr>
    <a:bodyPr/>
    <a:lstStyle/>
    <a:p>
      <a:pPr>
        <a:defRPr lang="en-GB">
          <a:latin typeface="Calibri" panose="020F0502020204030204" pitchFamily="34" charset="0"/>
          <a:cs typeface="Calibri" panose="020F0502020204030204" pitchFamily="34" charset="0"/>
        </a:defRPr>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767046378518054"/>
          <c:y val="0.0207368380948234"/>
          <c:w val="0.212018877022664"/>
          <c:h val="0.979263161905177"/>
        </c:manualLayout>
      </c:layout>
      <c:pieChart>
        <c:varyColors val="1"/>
        <c:ser>
          <c:idx val="0"/>
          <c:order val="0"/>
          <c:spPr/>
          <c:explosion val="0"/>
          <c:dPt>
            <c:idx val="0"/>
            <c:bubble3D val="0"/>
            <c:spPr>
              <a:solidFill>
                <a:schemeClr val="bg1">
                  <a:lumMod val="85000"/>
                </a:schemeClr>
              </a:solidFill>
              <a:ln w="19050">
                <a:solidFill>
                  <a:schemeClr val="lt1"/>
                </a:solidFill>
              </a:ln>
              <a:effectLst/>
            </c:spPr>
          </c:dPt>
          <c:dPt>
            <c:idx val="1"/>
            <c:bubble3D val="0"/>
            <c:spPr>
              <a:solidFill>
                <a:schemeClr val="bg1">
                  <a:lumMod val="65000"/>
                </a:schemeClr>
              </a:solidFill>
              <a:ln w="19050">
                <a:solidFill>
                  <a:schemeClr val="lt1"/>
                </a:solidFill>
              </a:ln>
              <a:effectLst/>
            </c:spPr>
          </c:dPt>
          <c:dPt>
            <c:idx val="2"/>
            <c:bubble3D val="0"/>
            <c:spPr>
              <a:solidFill>
                <a:schemeClr val="accent5">
                  <a:lumMod val="20000"/>
                  <a:lumOff val="80000"/>
                </a:schemeClr>
              </a:solidFill>
              <a:ln w="19050">
                <a:solidFill>
                  <a:schemeClr val="lt1"/>
                </a:solidFill>
              </a:ln>
              <a:effectLst/>
            </c:spPr>
          </c:dPt>
          <c:dPt>
            <c:idx val="3"/>
            <c:bubble3D val="0"/>
            <c:spPr>
              <a:solidFill>
                <a:schemeClr val="tx2">
                  <a:lumMod val="20000"/>
                  <a:lumOff val="80000"/>
                </a:schemeClr>
              </a:solidFill>
              <a:ln w="19050">
                <a:solidFill>
                  <a:schemeClr val="lt1"/>
                </a:solidFill>
              </a:ln>
              <a:effectLst/>
            </c:spPr>
          </c:dPt>
          <c:dPt>
            <c:idx val="4"/>
            <c:bubble3D val="0"/>
            <c:spPr>
              <a:solidFill>
                <a:schemeClr val="bg1">
                  <a:lumMod val="95000"/>
                </a:schemeClr>
              </a:solidFill>
              <a:ln w="19050">
                <a:solidFill>
                  <a:schemeClr val="lt1"/>
                </a:solidFill>
              </a:ln>
              <a:effectLst/>
            </c:spPr>
          </c:dPt>
          <c:dPt>
            <c:idx val="5"/>
            <c:bubble3D val="0"/>
            <c:spPr>
              <a:solidFill>
                <a:schemeClr val="accent1">
                  <a:lumMod val="60000"/>
                  <a:lumOff val="40000"/>
                </a:schemeClr>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lstStyle/>
              <a:p>
                <a:pPr>
                  <a:defRPr lang="en-GB" sz="900" b="1" i="0" u="none" strike="noStrike" kern="1200" baseline="0">
                    <a:solidFill>
                      <a:schemeClr val="dk1"/>
                    </a:solidFill>
                    <a:latin typeface="+mn-lt"/>
                    <a:ea typeface="+mn-ea"/>
                    <a:cs typeface="+mn-cs"/>
                  </a:defRPr>
                </a:pPr>
              </a:p>
            </c:txPr>
            <c:dLblPos val="bestFit"/>
            <c:showLegendKey val="0"/>
            <c:showVal val="1"/>
            <c:showCatName val="0"/>
            <c:showSerName val="0"/>
            <c:showPercent val="0"/>
            <c:showBubbleSize val="0"/>
            <c:showLeaderLines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4:$B$19</c:f>
              <c:strCache>
                <c:ptCount val="6"/>
                <c:pt idx="0">
                  <c:v>Canara Robeco Emerging Equities </c:v>
                </c:pt>
                <c:pt idx="1">
                  <c:v>Parag Parikh Flexi Cap</c:v>
                </c:pt>
                <c:pt idx="2">
                  <c:v>White Oak Flexi Cap Fund</c:v>
                </c:pt>
                <c:pt idx="3">
                  <c:v>Nippon India Large Cap Fund</c:v>
                </c:pt>
                <c:pt idx="4">
                  <c:v>SBI Sensex ETF</c:v>
                </c:pt>
                <c:pt idx="5">
                  <c:v>Nippon India Nifty BeES ETF</c:v>
                </c:pt>
              </c:strCache>
            </c:strRef>
          </c:cat>
          <c:val>
            <c:numRef>
              <c:f>Sheet1!$C$14:$C$19</c:f>
              <c:numCache>
                <c:formatCode>0%</c:formatCode>
                <c:ptCount val="6"/>
                <c:pt idx="0">
                  <c:v>0.2</c:v>
                </c:pt>
                <c:pt idx="1">
                  <c:v>0.2</c:v>
                </c:pt>
                <c:pt idx="2">
                  <c:v>0.2</c:v>
                </c:pt>
                <c:pt idx="3">
                  <c:v>0.1</c:v>
                </c:pt>
                <c:pt idx="4">
                  <c:v>0.2</c:v>
                </c:pt>
                <c:pt idx="5">
                  <c:v>0.1</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354814423236914"/>
          <c:y val="0.140621172353456"/>
          <c:w val="0.631592145446592"/>
          <c:h val="0.831601049868766"/>
        </c:manualLayout>
      </c:layout>
      <c:overlay val="0"/>
      <c:spPr>
        <a:noFill/>
        <a:ln>
          <a:noFill/>
        </a:ln>
        <a:effectLst/>
      </c:spPr>
      <c:txPr>
        <a:bodyPr rot="0" spcFirstLastPara="1" vertOverflow="ellipsis" vert="horz" wrap="square" anchor="ctr" anchorCtr="1"/>
        <a:lstStyle/>
        <a:p>
          <a:pPr>
            <a:defRPr lang="en-GB" sz="950" b="1" i="0" u="none" strike="noStrike" kern="1200" baseline="0">
              <a:solidFill>
                <a:schemeClr val="dk1"/>
              </a:solidFill>
              <a:latin typeface="Calibri" panose="020F0502020204030204" pitchFamily="34" charset="0"/>
              <a:ea typeface="+mn-ea"/>
              <a:cs typeface="Calibri" panose="020F0502020204030204" pitchFamily="34" charset="0"/>
            </a:defRPr>
          </a:pPr>
        </a:p>
      </c:txPr>
    </c:legend>
    <c:plotVisOnly val="1"/>
    <c:dispBlanksAs val="gap"/>
    <c:showDLblsOverMax val="0"/>
    <c:extLst>
      <c:ext uri="{0b15fc19-7d7d-44ad-8c2d-2c3a37ce22c3}">
        <chartProps xmlns="https://web.wps.cn/et/2018/main" chartId="{046924ca-9fdb-419f-835c-ea836583d6be}"/>
      </c:ext>
    </c:extLst>
  </c:chart>
  <c:spPr>
    <a:solidFill>
      <a:schemeClr val="lt1"/>
    </a:solidFill>
    <a:ln w="6350" cap="flat" cmpd="sng" algn="ctr">
      <a:solidFill>
        <a:schemeClr val="dk1"/>
      </a:solidFill>
      <a:prstDash val="solid"/>
      <a:round/>
    </a:ln>
    <a:effectLst/>
  </c:spPr>
  <c:txPr>
    <a:bodyPr/>
    <a:lstStyle/>
    <a:p>
      <a:pPr>
        <a:defRPr lang="en-GB">
          <a:solidFill>
            <a:schemeClr val="dk1"/>
          </a:solidFill>
          <a:latin typeface="+mn-lt"/>
          <a:ea typeface="+mn-ea"/>
          <a:cs typeface="+mn-cs"/>
        </a:defRPr>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GB" sz="10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GB" dirty="0"/>
              <a:t>Canara Robeco Emerging </a:t>
            </a:r>
            <a:r>
              <a:rPr lang="en-GB" dirty="0" err="1"/>
              <a:t>Eqts</a:t>
            </a:r>
            <a:r>
              <a:rPr lang="en-GB" dirty="0"/>
              <a:t> vs NSE</a:t>
            </a:r>
            <a:r>
              <a:rPr lang="en-GB" baseline="0" dirty="0"/>
              <a:t> </a:t>
            </a:r>
            <a:r>
              <a:rPr lang="en-GB" baseline="0" dirty="0" err="1"/>
              <a:t>LargeMid</a:t>
            </a:r>
            <a:r>
              <a:rPr lang="en-GB" baseline="0" dirty="0"/>
              <a:t> 250</a:t>
            </a:r>
            <a:r>
              <a:rPr lang="en-GB" dirty="0"/>
              <a:t> TRI</a:t>
            </a:r>
            <a:endParaRPr lang="en-GB" dirty="0"/>
          </a:p>
        </c:rich>
      </c:tx>
      <c:layout/>
      <c:overlay val="0"/>
      <c:spPr>
        <a:noFill/>
        <a:ln>
          <a:noFill/>
        </a:ln>
        <a:effectLst/>
      </c:spPr>
    </c:title>
    <c:autoTitleDeleted val="0"/>
    <c:plotArea>
      <c:layout>
        <c:manualLayout>
          <c:layoutTarget val="inner"/>
          <c:xMode val="edge"/>
          <c:yMode val="edge"/>
          <c:x val="0.108040970632176"/>
          <c:y val="0.150720988369987"/>
          <c:w val="0.837005457531139"/>
          <c:h val="0.510346545415021"/>
        </c:manualLayout>
      </c:layout>
      <c:lineChart>
        <c:grouping val="standard"/>
        <c:varyColors val="0"/>
        <c:ser>
          <c:idx val="0"/>
          <c:order val="0"/>
          <c:tx>
            <c:strRef>
              <c:f>Sheet1!$B$1</c:f>
              <c:strCache>
                <c:ptCount val="1"/>
                <c:pt idx="0">
                  <c:v>Canara Robeco Emerging </c:v>
                </c:pt>
              </c:strCache>
            </c:strRef>
          </c:tx>
          <c:spPr>
            <a:ln w="12700" cap="rnd">
              <a:solidFill>
                <a:srgbClr val="00A290"/>
              </a:solidFill>
              <a:round/>
            </a:ln>
            <a:effectLst/>
          </c:spPr>
          <c:marker>
            <c:symbol val="none"/>
          </c:marker>
          <c:dLbls>
            <c:delete val="1"/>
          </c:dLbls>
          <c:cat>
            <c:numRef>
              <c:f>Sheet1!$A$2:$A$103</c:f>
              <c:numCache>
                <c:formatCode>mmm/yy</c:formatCode>
                <c:ptCount val="102"/>
                <c:pt idx="0" c:formatCode="mmm/yy">
                  <c:v>42735</c:v>
                </c:pt>
                <c:pt idx="1" c:formatCode="mmm/yy">
                  <c:v>42766</c:v>
                </c:pt>
                <c:pt idx="2" c:formatCode="mmm/yy">
                  <c:v>42794</c:v>
                </c:pt>
                <c:pt idx="3" c:formatCode="mmm/yy">
                  <c:v>42825</c:v>
                </c:pt>
                <c:pt idx="4" c:formatCode="mmm/yy">
                  <c:v>42855</c:v>
                </c:pt>
                <c:pt idx="5" c:formatCode="mmm/yy">
                  <c:v>42886</c:v>
                </c:pt>
                <c:pt idx="6" c:formatCode="mmm/yy">
                  <c:v>42916</c:v>
                </c:pt>
                <c:pt idx="7" c:formatCode="mmm/yy">
                  <c:v>42947</c:v>
                </c:pt>
                <c:pt idx="8" c:formatCode="mmm/yy">
                  <c:v>42978</c:v>
                </c:pt>
                <c:pt idx="9" c:formatCode="mmm/yy">
                  <c:v>43008</c:v>
                </c:pt>
                <c:pt idx="10" c:formatCode="mmm/yy">
                  <c:v>43039</c:v>
                </c:pt>
                <c:pt idx="11" c:formatCode="mmm/yy">
                  <c:v>43069</c:v>
                </c:pt>
                <c:pt idx="12" c:formatCode="mmm/yy">
                  <c:v>43100</c:v>
                </c:pt>
                <c:pt idx="13" c:formatCode="mmm/yy">
                  <c:v>43131</c:v>
                </c:pt>
                <c:pt idx="14" c:formatCode="mmm/yy">
                  <c:v>43159</c:v>
                </c:pt>
                <c:pt idx="15" c:formatCode="mmm/yy">
                  <c:v>43190</c:v>
                </c:pt>
                <c:pt idx="16" c:formatCode="mmm/yy">
                  <c:v>43220</c:v>
                </c:pt>
                <c:pt idx="17" c:formatCode="mmm/yy">
                  <c:v>43251</c:v>
                </c:pt>
                <c:pt idx="18" c:formatCode="mmm/yy">
                  <c:v>43281</c:v>
                </c:pt>
                <c:pt idx="19" c:formatCode="mmm/yy">
                  <c:v>43312</c:v>
                </c:pt>
                <c:pt idx="20" c:formatCode="mmm/yy">
                  <c:v>43343</c:v>
                </c:pt>
                <c:pt idx="21" c:formatCode="mmm/yy">
                  <c:v>43373</c:v>
                </c:pt>
                <c:pt idx="22" c:formatCode="mmm/yy">
                  <c:v>43404</c:v>
                </c:pt>
                <c:pt idx="23" c:formatCode="mmm/yy">
                  <c:v>43434</c:v>
                </c:pt>
                <c:pt idx="24" c:formatCode="mmm/yy">
                  <c:v>43465</c:v>
                </c:pt>
                <c:pt idx="25" c:formatCode="mmm/yy">
                  <c:v>43496</c:v>
                </c:pt>
                <c:pt idx="26" c:formatCode="mmm/yy">
                  <c:v>43524</c:v>
                </c:pt>
                <c:pt idx="27" c:formatCode="mmm/yy">
                  <c:v>43555</c:v>
                </c:pt>
                <c:pt idx="28" c:formatCode="mmm/yy">
                  <c:v>43585</c:v>
                </c:pt>
                <c:pt idx="29" c:formatCode="mmm/yy">
                  <c:v>43616</c:v>
                </c:pt>
                <c:pt idx="30" c:formatCode="mmm/yy">
                  <c:v>43646</c:v>
                </c:pt>
                <c:pt idx="31" c:formatCode="mmm/yy">
                  <c:v>43677</c:v>
                </c:pt>
                <c:pt idx="32" c:formatCode="mmm/yy">
                  <c:v>43708</c:v>
                </c:pt>
                <c:pt idx="33" c:formatCode="mmm/yy">
                  <c:v>43738</c:v>
                </c:pt>
                <c:pt idx="34" c:formatCode="mmm/yy">
                  <c:v>43769</c:v>
                </c:pt>
                <c:pt idx="35" c:formatCode="mmm/yy">
                  <c:v>43799</c:v>
                </c:pt>
                <c:pt idx="36" c:formatCode="mmm/yy">
                  <c:v>43830</c:v>
                </c:pt>
                <c:pt idx="37" c:formatCode="mmm/yy">
                  <c:v>43861</c:v>
                </c:pt>
                <c:pt idx="38" c:formatCode="mmm/yy">
                  <c:v>43890</c:v>
                </c:pt>
                <c:pt idx="39" c:formatCode="mmm/yy">
                  <c:v>43921</c:v>
                </c:pt>
                <c:pt idx="40" c:formatCode="mmm/yy">
                  <c:v>43951</c:v>
                </c:pt>
                <c:pt idx="41" c:formatCode="mmm/yy">
                  <c:v>43982</c:v>
                </c:pt>
                <c:pt idx="42" c:formatCode="mmm/yy">
                  <c:v>44012</c:v>
                </c:pt>
                <c:pt idx="43" c:formatCode="mmm/yy">
                  <c:v>44043</c:v>
                </c:pt>
                <c:pt idx="44" c:formatCode="mmm/yy">
                  <c:v>44074</c:v>
                </c:pt>
                <c:pt idx="45" c:formatCode="mmm/yy">
                  <c:v>44104</c:v>
                </c:pt>
                <c:pt idx="46" c:formatCode="mmm/yy">
                  <c:v>44135</c:v>
                </c:pt>
                <c:pt idx="47" c:formatCode="mmm/yy">
                  <c:v>44165</c:v>
                </c:pt>
                <c:pt idx="48" c:formatCode="mmm/yy">
                  <c:v>44196</c:v>
                </c:pt>
                <c:pt idx="49" c:formatCode="mmm/yy">
                  <c:v>44227</c:v>
                </c:pt>
                <c:pt idx="50" c:formatCode="mmm/yy">
                  <c:v>44255</c:v>
                </c:pt>
                <c:pt idx="51" c:formatCode="mmm/yy">
                  <c:v>44286</c:v>
                </c:pt>
                <c:pt idx="52" c:formatCode="mmm/yy">
                  <c:v>44316</c:v>
                </c:pt>
                <c:pt idx="53" c:formatCode="mmm/yy">
                  <c:v>44347</c:v>
                </c:pt>
                <c:pt idx="54" c:formatCode="mmm/yy">
                  <c:v>44377</c:v>
                </c:pt>
                <c:pt idx="55" c:formatCode="mmm/yy">
                  <c:v>44408</c:v>
                </c:pt>
                <c:pt idx="56" c:formatCode="mmm/yy">
                  <c:v>44439</c:v>
                </c:pt>
                <c:pt idx="57" c:formatCode="mmm/yy">
                  <c:v>44469</c:v>
                </c:pt>
                <c:pt idx="58" c:formatCode="mmm/yy">
                  <c:v>44500</c:v>
                </c:pt>
                <c:pt idx="59" c:formatCode="mmm/yy">
                  <c:v>44530</c:v>
                </c:pt>
                <c:pt idx="60" c:formatCode="mmm/yy">
                  <c:v>44561</c:v>
                </c:pt>
                <c:pt idx="61" c:formatCode="mmm/yy">
                  <c:v>44592</c:v>
                </c:pt>
                <c:pt idx="62" c:formatCode="mmm/yy">
                  <c:v>44620</c:v>
                </c:pt>
                <c:pt idx="63" c:formatCode="mmm/yy">
                  <c:v>44651</c:v>
                </c:pt>
                <c:pt idx="64" c:formatCode="mmm/yy">
                  <c:v>44681</c:v>
                </c:pt>
                <c:pt idx="65" c:formatCode="mmm/yy">
                  <c:v>44712</c:v>
                </c:pt>
                <c:pt idx="66" c:formatCode="mmm/yy">
                  <c:v>44742</c:v>
                </c:pt>
                <c:pt idx="67" c:formatCode="mmm/yy">
                  <c:v>44773</c:v>
                </c:pt>
                <c:pt idx="68" c:formatCode="mmm/yy">
                  <c:v>44804</c:v>
                </c:pt>
                <c:pt idx="69" c:formatCode="mmm/yy">
                  <c:v>44834</c:v>
                </c:pt>
                <c:pt idx="70" c:formatCode="mmm/yy">
                  <c:v>44865</c:v>
                </c:pt>
                <c:pt idx="71" c:formatCode="mmm/yy">
                  <c:v>44895</c:v>
                </c:pt>
                <c:pt idx="72" c:formatCode="mmm/yy">
                  <c:v>44926</c:v>
                </c:pt>
                <c:pt idx="73" c:formatCode="mmm/yy">
                  <c:v>44957</c:v>
                </c:pt>
                <c:pt idx="74" c:formatCode="mmm/yy">
                  <c:v>44985</c:v>
                </c:pt>
                <c:pt idx="75" c:formatCode="mmm/yy">
                  <c:v>45016</c:v>
                </c:pt>
                <c:pt idx="76" c:formatCode="mmm/yy">
                  <c:v>45046</c:v>
                </c:pt>
                <c:pt idx="77" c:formatCode="mmm/yy">
                  <c:v>45077</c:v>
                </c:pt>
                <c:pt idx="78" c:formatCode="mmm/yy">
                  <c:v>45107</c:v>
                </c:pt>
                <c:pt idx="79" c:formatCode="mmm/yy">
                  <c:v>45138</c:v>
                </c:pt>
                <c:pt idx="80" c:formatCode="mmm/yy">
                  <c:v>45169</c:v>
                </c:pt>
                <c:pt idx="81" c:formatCode="mmm/yy">
                  <c:v>45199</c:v>
                </c:pt>
                <c:pt idx="82" c:formatCode="mmm/yy">
                  <c:v>45230</c:v>
                </c:pt>
                <c:pt idx="83" c:formatCode="mmm/yy">
                  <c:v>45260</c:v>
                </c:pt>
                <c:pt idx="84" c:formatCode="mmm/yy">
                  <c:v>45291</c:v>
                </c:pt>
                <c:pt idx="85" c:formatCode="mmm/yy">
                  <c:v>45322</c:v>
                </c:pt>
                <c:pt idx="86" c:formatCode="mmm/yy">
                  <c:v>45351</c:v>
                </c:pt>
                <c:pt idx="87" c:formatCode="mmm/yy">
                  <c:v>45382</c:v>
                </c:pt>
                <c:pt idx="88" c:formatCode="mmm/yy">
                  <c:v>45412</c:v>
                </c:pt>
                <c:pt idx="89" c:formatCode="mmm/yy">
                  <c:v>45443</c:v>
                </c:pt>
                <c:pt idx="90" c:formatCode="mmm/yy">
                  <c:v>45473</c:v>
                </c:pt>
                <c:pt idx="91" c:formatCode="mmm/yy">
                  <c:v>45504</c:v>
                </c:pt>
                <c:pt idx="92" c:formatCode="mmm/yy">
                  <c:v>45535</c:v>
                </c:pt>
                <c:pt idx="93" c:formatCode="mmm/yy">
                  <c:v>45565</c:v>
                </c:pt>
                <c:pt idx="94" c:formatCode="mmm/yy">
                  <c:v>45596</c:v>
                </c:pt>
                <c:pt idx="95" c:formatCode="mmm/yy">
                  <c:v>45626</c:v>
                </c:pt>
                <c:pt idx="96" c:formatCode="mmm/yy">
                  <c:v>45657</c:v>
                </c:pt>
                <c:pt idx="97" c:formatCode="mmm/yy">
                  <c:v>45688</c:v>
                </c:pt>
                <c:pt idx="98" c:formatCode="mmm/yy">
                  <c:v>45716</c:v>
                </c:pt>
                <c:pt idx="99" c:formatCode="mmm/yy">
                  <c:v>45747</c:v>
                </c:pt>
                <c:pt idx="100" c:formatCode="mmm/yy">
                  <c:v>45777</c:v>
                </c:pt>
                <c:pt idx="101" c:formatCode="mmm/yy">
                  <c:v>45808</c:v>
                </c:pt>
              </c:numCache>
            </c:numRef>
          </c:cat>
          <c:val>
            <c:numRef>
              <c:f>Sheet1!$B$2:$B$103</c:f>
              <c:numCache>
                <c:formatCode>#,##0.0</c:formatCode>
                <c:ptCount val="102"/>
                <c:pt idx="0">
                  <c:v>100</c:v>
                </c:pt>
                <c:pt idx="1">
                  <c:v>108.577405857741</c:v>
                </c:pt>
                <c:pt idx="2">
                  <c:v>114.704124327555</c:v>
                </c:pt>
                <c:pt idx="3">
                  <c:v>121.832038254632</c:v>
                </c:pt>
                <c:pt idx="4">
                  <c:v>130.528989838613</c:v>
                </c:pt>
                <c:pt idx="5">
                  <c:v>130.170352659892</c:v>
                </c:pt>
                <c:pt idx="6">
                  <c:v>131.111775254035</c:v>
                </c:pt>
                <c:pt idx="7">
                  <c:v>136.790197250448</c:v>
                </c:pt>
                <c:pt idx="8">
                  <c:v>136.521219366408</c:v>
                </c:pt>
                <c:pt idx="9">
                  <c:v>136.297071129707</c:v>
                </c:pt>
                <c:pt idx="10">
                  <c:v>144.112372982666</c:v>
                </c:pt>
                <c:pt idx="11">
                  <c:v>147.534369396294</c:v>
                </c:pt>
                <c:pt idx="12">
                  <c:v>154.07949790795</c:v>
                </c:pt>
                <c:pt idx="13">
                  <c:v>151.135684399283</c:v>
                </c:pt>
                <c:pt idx="14">
                  <c:v>148.042438732815</c:v>
                </c:pt>
                <c:pt idx="15">
                  <c:v>142.124925283921</c:v>
                </c:pt>
                <c:pt idx="16">
                  <c:v>153.093245666467</c:v>
                </c:pt>
                <c:pt idx="17">
                  <c:v>147.967722653915</c:v>
                </c:pt>
                <c:pt idx="18">
                  <c:v>143.918111177525</c:v>
                </c:pt>
                <c:pt idx="19">
                  <c:v>152.286312014346</c:v>
                </c:pt>
                <c:pt idx="20">
                  <c:v>157.635983263598</c:v>
                </c:pt>
                <c:pt idx="21">
                  <c:v>139.763897190675</c:v>
                </c:pt>
                <c:pt idx="22">
                  <c:v>135.654512851166</c:v>
                </c:pt>
                <c:pt idx="23">
                  <c:v>140.182307232517</c:v>
                </c:pt>
                <c:pt idx="24">
                  <c:v>141.48236700538</c:v>
                </c:pt>
                <c:pt idx="25">
                  <c:v>139.614465032875</c:v>
                </c:pt>
                <c:pt idx="26">
                  <c:v>140.062761506276</c:v>
                </c:pt>
                <c:pt idx="27">
                  <c:v>150.493126120741</c:v>
                </c:pt>
                <c:pt idx="28">
                  <c:v>150.239091452481</c:v>
                </c:pt>
                <c:pt idx="29">
                  <c:v>153.078302450687</c:v>
                </c:pt>
                <c:pt idx="30">
                  <c:v>151.060968320383</c:v>
                </c:pt>
                <c:pt idx="31">
                  <c:v>139.748953974895</c:v>
                </c:pt>
                <c:pt idx="32">
                  <c:v>137.985654512851</c:v>
                </c:pt>
                <c:pt idx="33">
                  <c:v>145.546921697549</c:v>
                </c:pt>
                <c:pt idx="34">
                  <c:v>151.838015540944</c:v>
                </c:pt>
                <c:pt idx="35">
                  <c:v>153.690974297669</c:v>
                </c:pt>
                <c:pt idx="36">
                  <c:v>155.543933054393</c:v>
                </c:pt>
                <c:pt idx="37">
                  <c:v>162.62701733413</c:v>
                </c:pt>
                <c:pt idx="38">
                  <c:v>159.862522414824</c:v>
                </c:pt>
                <c:pt idx="39">
                  <c:v>120.89061566049</c:v>
                </c:pt>
                <c:pt idx="40">
                  <c:v>135.998206814106</c:v>
                </c:pt>
                <c:pt idx="41">
                  <c:v>132.561267184698</c:v>
                </c:pt>
                <c:pt idx="42">
                  <c:v>141.73640167364</c:v>
                </c:pt>
                <c:pt idx="43">
                  <c:v>151.449491930663</c:v>
                </c:pt>
                <c:pt idx="44">
                  <c:v>160.116557083084</c:v>
                </c:pt>
                <c:pt idx="45">
                  <c:v>161.790197250448</c:v>
                </c:pt>
                <c:pt idx="46">
                  <c:v>164.704124327555</c:v>
                </c:pt>
                <c:pt idx="47">
                  <c:v>185.146443514644</c:v>
                </c:pt>
                <c:pt idx="48">
                  <c:v>195.98027495517</c:v>
                </c:pt>
                <c:pt idx="49">
                  <c:v>192.722653915122</c:v>
                </c:pt>
                <c:pt idx="50">
                  <c:v>209.219964136282</c:v>
                </c:pt>
                <c:pt idx="51">
                  <c:v>210.789001793186</c:v>
                </c:pt>
                <c:pt idx="52">
                  <c:v>212.62701733413</c:v>
                </c:pt>
                <c:pt idx="53">
                  <c:v>225</c:v>
                </c:pt>
                <c:pt idx="54">
                  <c:v>236.506276150628</c:v>
                </c:pt>
                <c:pt idx="55">
                  <c:v>245.77106993425</c:v>
                </c:pt>
                <c:pt idx="56">
                  <c:v>259.369396294082</c:v>
                </c:pt>
                <c:pt idx="57">
                  <c:v>266.288105200239</c:v>
                </c:pt>
                <c:pt idx="58">
                  <c:v>269.097429766886</c:v>
                </c:pt>
                <c:pt idx="59">
                  <c:v>262.910938433951</c:v>
                </c:pt>
                <c:pt idx="60">
                  <c:v>271.742378959952</c:v>
                </c:pt>
                <c:pt idx="61">
                  <c:v>267.378959952182</c:v>
                </c:pt>
                <c:pt idx="62">
                  <c:v>255.140466228332</c:v>
                </c:pt>
                <c:pt idx="63">
                  <c:v>261.386730424387</c:v>
                </c:pt>
                <c:pt idx="64">
                  <c:v>258.20382546324</c:v>
                </c:pt>
                <c:pt idx="65">
                  <c:v>249.506873879259</c:v>
                </c:pt>
                <c:pt idx="66">
                  <c:v>238.628212791393</c:v>
                </c:pt>
                <c:pt idx="67">
                  <c:v>261.521219366408</c:v>
                </c:pt>
                <c:pt idx="68">
                  <c:v>272.429766885834</c:v>
                </c:pt>
                <c:pt idx="69">
                  <c:v>267.109982068141</c:v>
                </c:pt>
                <c:pt idx="70">
                  <c:v>276.315002988643</c:v>
                </c:pt>
                <c:pt idx="71">
                  <c:v>279.13927077107</c:v>
                </c:pt>
                <c:pt idx="72">
                  <c:v>270.517035265989</c:v>
                </c:pt>
                <c:pt idx="73">
                  <c:v>262.044231918709</c:v>
                </c:pt>
                <c:pt idx="74">
                  <c:v>259.892408846384</c:v>
                </c:pt>
                <c:pt idx="75">
                  <c:v>259.219964136282</c:v>
                </c:pt>
                <c:pt idx="76">
                  <c:v>268.290496114764</c:v>
                </c:pt>
                <c:pt idx="77">
                  <c:v>280.783024506874</c:v>
                </c:pt>
                <c:pt idx="78">
                  <c:v>292.274357441721</c:v>
                </c:pt>
                <c:pt idx="79">
                  <c:v>303.242677824268</c:v>
                </c:pt>
                <c:pt idx="80">
                  <c:v>303.646144650329</c:v>
                </c:pt>
                <c:pt idx="81">
                  <c:v>305.723251643754</c:v>
                </c:pt>
                <c:pt idx="82">
                  <c:v>297.175732217573</c:v>
                </c:pt>
                <c:pt idx="83">
                  <c:v>319.082486551106</c:v>
                </c:pt>
                <c:pt idx="84">
                  <c:v>339.121338912134</c:v>
                </c:pt>
                <c:pt idx="85">
                  <c:v>339.823670053796</c:v>
                </c:pt>
                <c:pt idx="86">
                  <c:v>348.774656306037</c:v>
                </c:pt>
                <c:pt idx="87">
                  <c:v>357.531380753138</c:v>
                </c:pt>
                <c:pt idx="88">
                  <c:v>371.203851743614</c:v>
                </c:pt>
                <c:pt idx="89">
                  <c:v>377.98778816949</c:v>
                </c:pt>
                <c:pt idx="90">
                  <c:v>413.805179387163</c:v>
                </c:pt>
                <c:pt idx="91">
                  <c:v>429.524785378399</c:v>
                </c:pt>
                <c:pt idx="92">
                  <c:v>437.250218168215</c:v>
                </c:pt>
                <c:pt idx="93">
                  <c:v>446.738766064354</c:v>
                </c:pt>
                <c:pt idx="94">
                  <c:v>421.709919251704</c:v>
                </c:pt>
                <c:pt idx="95">
                  <c:v>429.270872378391</c:v>
                </c:pt>
                <c:pt idx="96">
                  <c:v>432.827210015054</c:v>
                </c:pt>
                <c:pt idx="97">
                  <c:v>404.615590443542</c:v>
                </c:pt>
                <c:pt idx="98">
                  <c:v>370.008540164081</c:v>
                </c:pt>
                <c:pt idx="99">
                  <c:v>398.862546143156</c:v>
                </c:pt>
                <c:pt idx="100">
                  <c:v>412.564900873358</c:v>
                </c:pt>
                <c:pt idx="101">
                  <c:v>430.615549198422</c:v>
                </c:pt>
              </c:numCache>
            </c:numRef>
          </c:val>
          <c:smooth val="0"/>
        </c:ser>
        <c:ser>
          <c:idx val="1"/>
          <c:order val="1"/>
          <c:tx>
            <c:strRef>
              <c:f>Sheet1!$C$1</c:f>
              <c:strCache>
                <c:ptCount val="1"/>
                <c:pt idx="0">
                  <c:v>Nifty Large Midcap 250 TRI</c:v>
                </c:pt>
              </c:strCache>
            </c:strRef>
          </c:tx>
          <c:spPr>
            <a:ln w="12700" cap="rnd">
              <a:solidFill>
                <a:srgbClr val="C00000"/>
              </a:solidFill>
              <a:round/>
            </a:ln>
            <a:effectLst/>
          </c:spPr>
          <c:marker>
            <c:symbol val="none"/>
          </c:marker>
          <c:dLbls>
            <c:delete val="1"/>
          </c:dLbls>
          <c:cat>
            <c:numRef>
              <c:f>Sheet1!$A$2:$A$103</c:f>
              <c:numCache>
                <c:formatCode>mmm/yy</c:formatCode>
                <c:ptCount val="102"/>
                <c:pt idx="0" c:formatCode="mmm/yy">
                  <c:v>42735</c:v>
                </c:pt>
                <c:pt idx="1" c:formatCode="mmm/yy">
                  <c:v>42766</c:v>
                </c:pt>
                <c:pt idx="2" c:formatCode="mmm/yy">
                  <c:v>42794</c:v>
                </c:pt>
                <c:pt idx="3" c:formatCode="mmm/yy">
                  <c:v>42825</c:v>
                </c:pt>
                <c:pt idx="4" c:formatCode="mmm/yy">
                  <c:v>42855</c:v>
                </c:pt>
                <c:pt idx="5" c:formatCode="mmm/yy">
                  <c:v>42886</c:v>
                </c:pt>
                <c:pt idx="6" c:formatCode="mmm/yy">
                  <c:v>42916</c:v>
                </c:pt>
                <c:pt idx="7" c:formatCode="mmm/yy">
                  <c:v>42947</c:v>
                </c:pt>
                <c:pt idx="8" c:formatCode="mmm/yy">
                  <c:v>42978</c:v>
                </c:pt>
                <c:pt idx="9" c:formatCode="mmm/yy">
                  <c:v>43008</c:v>
                </c:pt>
                <c:pt idx="10" c:formatCode="mmm/yy">
                  <c:v>43039</c:v>
                </c:pt>
                <c:pt idx="11" c:formatCode="mmm/yy">
                  <c:v>43069</c:v>
                </c:pt>
                <c:pt idx="12" c:formatCode="mmm/yy">
                  <c:v>43100</c:v>
                </c:pt>
                <c:pt idx="13" c:formatCode="mmm/yy">
                  <c:v>43131</c:v>
                </c:pt>
                <c:pt idx="14" c:formatCode="mmm/yy">
                  <c:v>43159</c:v>
                </c:pt>
                <c:pt idx="15" c:formatCode="mmm/yy">
                  <c:v>43190</c:v>
                </c:pt>
                <c:pt idx="16" c:formatCode="mmm/yy">
                  <c:v>43220</c:v>
                </c:pt>
                <c:pt idx="17" c:formatCode="mmm/yy">
                  <c:v>43251</c:v>
                </c:pt>
                <c:pt idx="18" c:formatCode="mmm/yy">
                  <c:v>43281</c:v>
                </c:pt>
                <c:pt idx="19" c:formatCode="mmm/yy">
                  <c:v>43312</c:v>
                </c:pt>
                <c:pt idx="20" c:formatCode="mmm/yy">
                  <c:v>43343</c:v>
                </c:pt>
                <c:pt idx="21" c:formatCode="mmm/yy">
                  <c:v>43373</c:v>
                </c:pt>
                <c:pt idx="22" c:formatCode="mmm/yy">
                  <c:v>43404</c:v>
                </c:pt>
                <c:pt idx="23" c:formatCode="mmm/yy">
                  <c:v>43434</c:v>
                </c:pt>
                <c:pt idx="24" c:formatCode="mmm/yy">
                  <c:v>43465</c:v>
                </c:pt>
                <c:pt idx="25" c:formatCode="mmm/yy">
                  <c:v>43496</c:v>
                </c:pt>
                <c:pt idx="26" c:formatCode="mmm/yy">
                  <c:v>43524</c:v>
                </c:pt>
                <c:pt idx="27" c:formatCode="mmm/yy">
                  <c:v>43555</c:v>
                </c:pt>
                <c:pt idx="28" c:formatCode="mmm/yy">
                  <c:v>43585</c:v>
                </c:pt>
                <c:pt idx="29" c:formatCode="mmm/yy">
                  <c:v>43616</c:v>
                </c:pt>
                <c:pt idx="30" c:formatCode="mmm/yy">
                  <c:v>43646</c:v>
                </c:pt>
                <c:pt idx="31" c:formatCode="mmm/yy">
                  <c:v>43677</c:v>
                </c:pt>
                <c:pt idx="32" c:formatCode="mmm/yy">
                  <c:v>43708</c:v>
                </c:pt>
                <c:pt idx="33" c:formatCode="mmm/yy">
                  <c:v>43738</c:v>
                </c:pt>
                <c:pt idx="34" c:formatCode="mmm/yy">
                  <c:v>43769</c:v>
                </c:pt>
                <c:pt idx="35" c:formatCode="mmm/yy">
                  <c:v>43799</c:v>
                </c:pt>
                <c:pt idx="36" c:formatCode="mmm/yy">
                  <c:v>43830</c:v>
                </c:pt>
                <c:pt idx="37" c:formatCode="mmm/yy">
                  <c:v>43861</c:v>
                </c:pt>
                <c:pt idx="38" c:formatCode="mmm/yy">
                  <c:v>43890</c:v>
                </c:pt>
                <c:pt idx="39" c:formatCode="mmm/yy">
                  <c:v>43921</c:v>
                </c:pt>
                <c:pt idx="40" c:formatCode="mmm/yy">
                  <c:v>43951</c:v>
                </c:pt>
                <c:pt idx="41" c:formatCode="mmm/yy">
                  <c:v>43982</c:v>
                </c:pt>
                <c:pt idx="42" c:formatCode="mmm/yy">
                  <c:v>44012</c:v>
                </c:pt>
                <c:pt idx="43" c:formatCode="mmm/yy">
                  <c:v>44043</c:v>
                </c:pt>
                <c:pt idx="44" c:formatCode="mmm/yy">
                  <c:v>44074</c:v>
                </c:pt>
                <c:pt idx="45" c:formatCode="mmm/yy">
                  <c:v>44104</c:v>
                </c:pt>
                <c:pt idx="46" c:formatCode="mmm/yy">
                  <c:v>44135</c:v>
                </c:pt>
                <c:pt idx="47" c:formatCode="mmm/yy">
                  <c:v>44165</c:v>
                </c:pt>
                <c:pt idx="48" c:formatCode="mmm/yy">
                  <c:v>44196</c:v>
                </c:pt>
                <c:pt idx="49" c:formatCode="mmm/yy">
                  <c:v>44227</c:v>
                </c:pt>
                <c:pt idx="50" c:formatCode="mmm/yy">
                  <c:v>44255</c:v>
                </c:pt>
                <c:pt idx="51" c:formatCode="mmm/yy">
                  <c:v>44286</c:v>
                </c:pt>
                <c:pt idx="52" c:formatCode="mmm/yy">
                  <c:v>44316</c:v>
                </c:pt>
                <c:pt idx="53" c:formatCode="mmm/yy">
                  <c:v>44347</c:v>
                </c:pt>
                <c:pt idx="54" c:formatCode="mmm/yy">
                  <c:v>44377</c:v>
                </c:pt>
                <c:pt idx="55" c:formatCode="mmm/yy">
                  <c:v>44408</c:v>
                </c:pt>
                <c:pt idx="56" c:formatCode="mmm/yy">
                  <c:v>44439</c:v>
                </c:pt>
                <c:pt idx="57" c:formatCode="mmm/yy">
                  <c:v>44469</c:v>
                </c:pt>
                <c:pt idx="58" c:formatCode="mmm/yy">
                  <c:v>44500</c:v>
                </c:pt>
                <c:pt idx="59" c:formatCode="mmm/yy">
                  <c:v>44530</c:v>
                </c:pt>
                <c:pt idx="60" c:formatCode="mmm/yy">
                  <c:v>44561</c:v>
                </c:pt>
                <c:pt idx="61" c:formatCode="mmm/yy">
                  <c:v>44592</c:v>
                </c:pt>
                <c:pt idx="62" c:formatCode="mmm/yy">
                  <c:v>44620</c:v>
                </c:pt>
                <c:pt idx="63" c:formatCode="mmm/yy">
                  <c:v>44651</c:v>
                </c:pt>
                <c:pt idx="64" c:formatCode="mmm/yy">
                  <c:v>44681</c:v>
                </c:pt>
                <c:pt idx="65" c:formatCode="mmm/yy">
                  <c:v>44712</c:v>
                </c:pt>
                <c:pt idx="66" c:formatCode="mmm/yy">
                  <c:v>44742</c:v>
                </c:pt>
                <c:pt idx="67" c:formatCode="mmm/yy">
                  <c:v>44773</c:v>
                </c:pt>
                <c:pt idx="68" c:formatCode="mmm/yy">
                  <c:v>44804</c:v>
                </c:pt>
                <c:pt idx="69" c:formatCode="mmm/yy">
                  <c:v>44834</c:v>
                </c:pt>
                <c:pt idx="70" c:formatCode="mmm/yy">
                  <c:v>44865</c:v>
                </c:pt>
                <c:pt idx="71" c:formatCode="mmm/yy">
                  <c:v>44895</c:v>
                </c:pt>
                <c:pt idx="72" c:formatCode="mmm/yy">
                  <c:v>44926</c:v>
                </c:pt>
                <c:pt idx="73" c:formatCode="mmm/yy">
                  <c:v>44957</c:v>
                </c:pt>
                <c:pt idx="74" c:formatCode="mmm/yy">
                  <c:v>44985</c:v>
                </c:pt>
                <c:pt idx="75" c:formatCode="mmm/yy">
                  <c:v>45016</c:v>
                </c:pt>
                <c:pt idx="76" c:formatCode="mmm/yy">
                  <c:v>45046</c:v>
                </c:pt>
                <c:pt idx="77" c:formatCode="mmm/yy">
                  <c:v>45077</c:v>
                </c:pt>
                <c:pt idx="78" c:formatCode="mmm/yy">
                  <c:v>45107</c:v>
                </c:pt>
                <c:pt idx="79" c:formatCode="mmm/yy">
                  <c:v>45138</c:v>
                </c:pt>
                <c:pt idx="80" c:formatCode="mmm/yy">
                  <c:v>45169</c:v>
                </c:pt>
                <c:pt idx="81" c:formatCode="mmm/yy">
                  <c:v>45199</c:v>
                </c:pt>
                <c:pt idx="82" c:formatCode="mmm/yy">
                  <c:v>45230</c:v>
                </c:pt>
                <c:pt idx="83" c:formatCode="mmm/yy">
                  <c:v>45260</c:v>
                </c:pt>
                <c:pt idx="84" c:formatCode="mmm/yy">
                  <c:v>45291</c:v>
                </c:pt>
                <c:pt idx="85" c:formatCode="mmm/yy">
                  <c:v>45322</c:v>
                </c:pt>
                <c:pt idx="86" c:formatCode="mmm/yy">
                  <c:v>45351</c:v>
                </c:pt>
                <c:pt idx="87" c:formatCode="mmm/yy">
                  <c:v>45382</c:v>
                </c:pt>
                <c:pt idx="88" c:formatCode="mmm/yy">
                  <c:v>45412</c:v>
                </c:pt>
                <c:pt idx="89" c:formatCode="mmm/yy">
                  <c:v>45443</c:v>
                </c:pt>
                <c:pt idx="90" c:formatCode="mmm/yy">
                  <c:v>45473</c:v>
                </c:pt>
                <c:pt idx="91" c:formatCode="mmm/yy">
                  <c:v>45504</c:v>
                </c:pt>
                <c:pt idx="92" c:formatCode="mmm/yy">
                  <c:v>45535</c:v>
                </c:pt>
                <c:pt idx="93" c:formatCode="mmm/yy">
                  <c:v>45565</c:v>
                </c:pt>
                <c:pt idx="94" c:formatCode="mmm/yy">
                  <c:v>45596</c:v>
                </c:pt>
                <c:pt idx="95" c:formatCode="mmm/yy">
                  <c:v>45626</c:v>
                </c:pt>
                <c:pt idx="96" c:formatCode="mmm/yy">
                  <c:v>45657</c:v>
                </c:pt>
                <c:pt idx="97" c:formatCode="mmm/yy">
                  <c:v>45688</c:v>
                </c:pt>
                <c:pt idx="98" c:formatCode="mmm/yy">
                  <c:v>45716</c:v>
                </c:pt>
                <c:pt idx="99" c:formatCode="mmm/yy">
                  <c:v>45747</c:v>
                </c:pt>
                <c:pt idx="100" c:formatCode="mmm/yy">
                  <c:v>45777</c:v>
                </c:pt>
                <c:pt idx="101" c:formatCode="mmm/yy">
                  <c:v>45808</c:v>
                </c:pt>
              </c:numCache>
            </c:numRef>
          </c:cat>
          <c:val>
            <c:numRef>
              <c:f>Sheet1!$C$2:$C$103</c:f>
              <c:numCache>
                <c:formatCode>#,##0.0</c:formatCode>
                <c:ptCount val="102"/>
                <c:pt idx="0">
                  <c:v>100</c:v>
                </c:pt>
                <c:pt idx="1">
                  <c:v>106.196060816155</c:v>
                </c:pt>
                <c:pt idx="2">
                  <c:v>112.008944701046</c:v>
                </c:pt>
                <c:pt idx="3">
                  <c:v>117.012899508823</c:v>
                </c:pt>
                <c:pt idx="4">
                  <c:v>121.036843184548</c:v>
                </c:pt>
                <c:pt idx="5">
                  <c:v>121.436034646069</c:v>
                </c:pt>
                <c:pt idx="6">
                  <c:v>122.382063726113</c:v>
                </c:pt>
                <c:pt idx="7">
                  <c:v>128.821662581659</c:v>
                </c:pt>
                <c:pt idx="8">
                  <c:v>128.163113849639</c:v>
                </c:pt>
                <c:pt idx="9">
                  <c:v>127.57819289697</c:v>
                </c:pt>
                <c:pt idx="10">
                  <c:v>136.283261886395</c:v>
                </c:pt>
                <c:pt idx="11">
                  <c:v>137.790190123722</c:v>
                </c:pt>
                <c:pt idx="12">
                  <c:v>144.064956497115</c:v>
                </c:pt>
                <c:pt idx="13">
                  <c:v>144.709443690373</c:v>
                </c:pt>
                <c:pt idx="14">
                  <c:v>138.629195269855</c:v>
                </c:pt>
                <c:pt idx="15">
                  <c:v>134.10548107063</c:v>
                </c:pt>
                <c:pt idx="16">
                  <c:v>143.348208618552</c:v>
                </c:pt>
                <c:pt idx="17">
                  <c:v>138.839141855537</c:v>
                </c:pt>
                <c:pt idx="18">
                  <c:v>135.919810169227</c:v>
                </c:pt>
                <c:pt idx="19">
                  <c:v>142.859570146572</c:v>
                </c:pt>
                <c:pt idx="20">
                  <c:v>149.259913873075</c:v>
                </c:pt>
                <c:pt idx="21">
                  <c:v>134.151962268204</c:v>
                </c:pt>
                <c:pt idx="22">
                  <c:v>130.303397228705</c:v>
                </c:pt>
                <c:pt idx="23">
                  <c:v>134.925151600965</c:v>
                </c:pt>
                <c:pt idx="24">
                  <c:v>136.62913668011</c:v>
                </c:pt>
                <c:pt idx="25">
                  <c:v>132.797757965764</c:v>
                </c:pt>
                <c:pt idx="26">
                  <c:v>132.093509232767</c:v>
                </c:pt>
                <c:pt idx="27">
                  <c:v>142.77149023016</c:v>
                </c:pt>
                <c:pt idx="28">
                  <c:v>140.950520960481</c:v>
                </c:pt>
                <c:pt idx="29">
                  <c:v>143.642524436806</c:v>
                </c:pt>
                <c:pt idx="30">
                  <c:v>141.908853886941</c:v>
                </c:pt>
                <c:pt idx="31">
                  <c:v>131.922622476979</c:v>
                </c:pt>
                <c:pt idx="32">
                  <c:v>131.086937416387</c:v>
                </c:pt>
                <c:pt idx="33">
                  <c:v>136.112961028055</c:v>
                </c:pt>
                <c:pt idx="34">
                  <c:v>142.028572265568</c:v>
                </c:pt>
                <c:pt idx="35">
                  <c:v>144.335055220834</c:v>
                </c:pt>
                <c:pt idx="36">
                  <c:v>144.87310437763</c:v>
                </c:pt>
                <c:pt idx="37">
                  <c:v>147.702403156034</c:v>
                </c:pt>
                <c:pt idx="38">
                  <c:v>138.871756813499</c:v>
                </c:pt>
                <c:pt idx="39">
                  <c:v>103.536086400344</c:v>
                </c:pt>
                <c:pt idx="40">
                  <c:v>118.685441424903</c:v>
                </c:pt>
                <c:pt idx="41">
                  <c:v>116.156317439238</c:v>
                </c:pt>
                <c:pt idx="42">
                  <c:v>127.070610407492</c:v>
                </c:pt>
                <c:pt idx="43">
                  <c:v>134.47928364272</c:v>
                </c:pt>
                <c:pt idx="44">
                  <c:v>141.937562861914</c:v>
                </c:pt>
                <c:pt idx="45">
                  <c:v>142.630679543391</c:v>
                </c:pt>
                <c:pt idx="46">
                  <c:v>145.178942845704</c:v>
                </c:pt>
                <c:pt idx="47">
                  <c:v>164.266895817669</c:v>
                </c:pt>
                <c:pt idx="48">
                  <c:v>175.114396476803</c:v>
                </c:pt>
                <c:pt idx="49">
                  <c:v>173.197925923033</c:v>
                </c:pt>
                <c:pt idx="50">
                  <c:v>189.5651664437</c:v>
                </c:pt>
                <c:pt idx="51">
                  <c:v>192.479810950423</c:v>
                </c:pt>
                <c:pt idx="52">
                  <c:v>193.955491323835</c:v>
                </c:pt>
                <c:pt idx="53">
                  <c:v>206.983702285977</c:v>
                </c:pt>
                <c:pt idx="54">
                  <c:v>213.309441737381</c:v>
                </c:pt>
                <c:pt idx="55">
                  <c:v>217.558565332448</c:v>
                </c:pt>
                <c:pt idx="56">
                  <c:v>228.986495063814</c:v>
                </c:pt>
                <c:pt idx="57">
                  <c:v>239.082679894929</c:v>
                </c:pt>
                <c:pt idx="58">
                  <c:v>239.769547003623</c:v>
                </c:pt>
                <c:pt idx="59">
                  <c:v>234.19434218364</c:v>
                </c:pt>
                <c:pt idx="60">
                  <c:v>239.973829913971</c:v>
                </c:pt>
                <c:pt idx="61">
                  <c:v>238.171023465193</c:v>
                </c:pt>
                <c:pt idx="62">
                  <c:v>226.751100998955</c:v>
                </c:pt>
                <c:pt idx="63">
                  <c:v>236.564297362485</c:v>
                </c:pt>
                <c:pt idx="64">
                  <c:v>236.013944359272</c:v>
                </c:pt>
                <c:pt idx="65">
                  <c:v>225.593367640884</c:v>
                </c:pt>
                <c:pt idx="66">
                  <c:v>214.191412696398</c:v>
                </c:pt>
                <c:pt idx="67">
                  <c:v>236.768580272833</c:v>
                </c:pt>
                <c:pt idx="68">
                  <c:v>249.113048912672</c:v>
                </c:pt>
                <c:pt idx="69">
                  <c:v>242.408038512992</c:v>
                </c:pt>
                <c:pt idx="70">
                  <c:v>250.335816887517</c:v>
                </c:pt>
                <c:pt idx="71">
                  <c:v>257.466579433046</c:v>
                </c:pt>
                <c:pt idx="72">
                  <c:v>250.734813049889</c:v>
                </c:pt>
                <c:pt idx="73">
                  <c:v>243.234544513558</c:v>
                </c:pt>
                <c:pt idx="74">
                  <c:v>237.923384143662</c:v>
                </c:pt>
                <c:pt idx="75">
                  <c:v>238.037438846954</c:v>
                </c:pt>
                <c:pt idx="76">
                  <c:v>249.259523274776</c:v>
                </c:pt>
                <c:pt idx="77">
                  <c:v>260.407198726649</c:v>
                </c:pt>
                <c:pt idx="78">
                  <c:v>273.560205845303</c:v>
                </c:pt>
                <c:pt idx="79">
                  <c:v>285.566416358257</c:v>
                </c:pt>
                <c:pt idx="80">
                  <c:v>288.298846758522</c:v>
                </c:pt>
                <c:pt idx="81">
                  <c:v>295.580575546593</c:v>
                </c:pt>
                <c:pt idx="82">
                  <c:v>286.019119786733</c:v>
                </c:pt>
                <c:pt idx="83">
                  <c:v>308.756823264034</c:v>
                </c:pt>
                <c:pt idx="84">
                  <c:v>332.620426338043</c:v>
                </c:pt>
                <c:pt idx="85">
                  <c:v>341.581532512426</c:v>
                </c:pt>
                <c:pt idx="86">
                  <c:v>345.045162928315</c:v>
                </c:pt>
                <c:pt idx="87">
                  <c:v>347.476637339244</c:v>
                </c:pt>
                <c:pt idx="88">
                  <c:v>362.443973556495</c:v>
                </c:pt>
                <c:pt idx="89">
                  <c:v>367.720370677785</c:v>
                </c:pt>
                <c:pt idx="90">
                  <c:v>394.398625093988</c:v>
                </c:pt>
                <c:pt idx="91">
                  <c:v>412.513207104983</c:v>
                </c:pt>
                <c:pt idx="92">
                  <c:v>415.648307478981</c:v>
                </c:pt>
                <c:pt idx="93">
                  <c:v>424.276375840886</c:v>
                </c:pt>
                <c:pt idx="94">
                  <c:v>396.395099069591</c:v>
                </c:pt>
                <c:pt idx="95">
                  <c:v>396.866928249364</c:v>
                </c:pt>
                <c:pt idx="96">
                  <c:v>394.742915766247</c:v>
                </c:pt>
                <c:pt idx="97">
                  <c:v>379.345778198999</c:v>
                </c:pt>
                <c:pt idx="98">
                  <c:v>347.336581985296</c:v>
                </c:pt>
                <c:pt idx="99">
                  <c:v>372.93667742394</c:v>
                </c:pt>
                <c:pt idx="100">
                  <c:v>386.438883361001</c:v>
                </c:pt>
                <c:pt idx="101">
                  <c:v>403.017743993489</c:v>
                </c:pt>
              </c:numCache>
            </c:numRef>
          </c:val>
          <c:smooth val="0"/>
        </c:ser>
        <c:dLbls>
          <c:showLegendKey val="0"/>
          <c:showVal val="0"/>
          <c:showCatName val="0"/>
          <c:showSerName val="0"/>
          <c:showPercent val="0"/>
          <c:showBubbleSize val="0"/>
        </c:dLbls>
        <c:marker val="0"/>
        <c:smooth val="0"/>
        <c:axId val="1172110303"/>
        <c:axId val="1301341519"/>
      </c:lineChart>
      <c:dateAx>
        <c:axId val="1172110303"/>
        <c:scaling>
          <c:orientation val="minMax"/>
          <c:max val="45808"/>
          <c:min val="42705"/>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GB"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crossAx val="1301341519"/>
        <c:crosses val="autoZero"/>
        <c:auto val="1"/>
        <c:lblOffset val="100"/>
        <c:baseTimeUnit val="months"/>
        <c:majorUnit val="11"/>
        <c:majorTimeUnit val="days"/>
      </c:dateAx>
      <c:valAx>
        <c:axId val="1301341519"/>
        <c:scaling>
          <c:orientation val="minMax"/>
          <c:min val="100"/>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lang="en-GB"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crossAx val="1172110303"/>
        <c:crosses val="autoZero"/>
        <c:crossBetween val="midCat"/>
        <c:majorUnit val="75"/>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en-GB" sz="9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legend>
    <c:plotVisOnly val="1"/>
    <c:dispBlanksAs val="gap"/>
    <c:showDLblsOverMax val="0"/>
    <c:extLst>
      <c:ext uri="{0b15fc19-7d7d-44ad-8c2d-2c3a37ce22c3}">
        <chartProps xmlns="https://web.wps.cn/et/2018/main" chartId="{c19c7bf4-1b20-446a-a4db-b0ba95ff3b27}"/>
      </c:ext>
    </c:extLst>
  </c:chart>
  <c:spPr>
    <a:noFill/>
    <a:ln>
      <a:noFill/>
    </a:ln>
    <a:effectLst/>
  </c:spPr>
  <c:txPr>
    <a:bodyPr/>
    <a:lstStyle/>
    <a:p>
      <a:pPr>
        <a:defRPr lang="en-GB" sz="900">
          <a:latin typeface="Calibri" panose="020F0502020204030204" pitchFamily="34" charset="0"/>
          <a:cs typeface="Calibri" panose="020F0502020204030204" pitchFamily="34" charset="0"/>
        </a:defRPr>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GB" sz="10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GB" dirty="0"/>
              <a:t>Parag Parikh Flexi Cap vs NSE 500 TRI</a:t>
            </a:r>
            <a:endParaRPr lang="en-GB" dirty="0"/>
          </a:p>
        </c:rich>
      </c:tx>
      <c:layout/>
      <c:overlay val="0"/>
      <c:spPr>
        <a:noFill/>
        <a:ln>
          <a:noFill/>
        </a:ln>
        <a:effectLst/>
      </c:spPr>
    </c:title>
    <c:autoTitleDeleted val="0"/>
    <c:plotArea>
      <c:layout>
        <c:manualLayout>
          <c:layoutTarget val="inner"/>
          <c:xMode val="edge"/>
          <c:yMode val="edge"/>
          <c:x val="0.108040970632176"/>
          <c:y val="0.150720988369987"/>
          <c:w val="0.837005457531139"/>
          <c:h val="0.510346545415021"/>
        </c:manualLayout>
      </c:layout>
      <c:lineChart>
        <c:grouping val="standard"/>
        <c:varyColors val="0"/>
        <c:ser>
          <c:idx val="0"/>
          <c:order val="0"/>
          <c:tx>
            <c:strRef>
              <c:f>Sheet1!$B$1</c:f>
              <c:strCache>
                <c:ptCount val="1"/>
                <c:pt idx="0">
                  <c:v>Parag Parikh Flexi Cap</c:v>
                </c:pt>
              </c:strCache>
            </c:strRef>
          </c:tx>
          <c:spPr>
            <a:ln w="12700" cap="rnd">
              <a:solidFill>
                <a:srgbClr val="00A290"/>
              </a:solidFill>
              <a:round/>
            </a:ln>
            <a:effectLst/>
          </c:spPr>
          <c:marker>
            <c:symbol val="none"/>
          </c:marker>
          <c:dLbls>
            <c:delete val="1"/>
          </c:dLbls>
          <c:cat>
            <c:numRef>
              <c:f>Sheet1!$A$2:$A$103</c:f>
              <c:numCache>
                <c:formatCode>mmm/yy</c:formatCode>
                <c:ptCount val="102"/>
                <c:pt idx="0" c:formatCode="mmm/yy">
                  <c:v>42735</c:v>
                </c:pt>
                <c:pt idx="1" c:formatCode="mmm/yy">
                  <c:v>42766</c:v>
                </c:pt>
                <c:pt idx="2" c:formatCode="mmm/yy">
                  <c:v>42794</c:v>
                </c:pt>
                <c:pt idx="3" c:formatCode="mmm/yy">
                  <c:v>42825</c:v>
                </c:pt>
                <c:pt idx="4" c:formatCode="mmm/yy">
                  <c:v>42855</c:v>
                </c:pt>
                <c:pt idx="5" c:formatCode="mmm/yy">
                  <c:v>42886</c:v>
                </c:pt>
                <c:pt idx="6" c:formatCode="mmm/yy">
                  <c:v>42916</c:v>
                </c:pt>
                <c:pt idx="7" c:formatCode="mmm/yy">
                  <c:v>42947</c:v>
                </c:pt>
                <c:pt idx="8" c:formatCode="mmm/yy">
                  <c:v>42978</c:v>
                </c:pt>
                <c:pt idx="9" c:formatCode="mmm/yy">
                  <c:v>43008</c:v>
                </c:pt>
                <c:pt idx="10" c:formatCode="mmm/yy">
                  <c:v>43039</c:v>
                </c:pt>
                <c:pt idx="11" c:formatCode="mmm/yy">
                  <c:v>43069</c:v>
                </c:pt>
                <c:pt idx="12" c:formatCode="mmm/yy">
                  <c:v>43100</c:v>
                </c:pt>
                <c:pt idx="13" c:formatCode="mmm/yy">
                  <c:v>43131</c:v>
                </c:pt>
                <c:pt idx="14" c:formatCode="mmm/yy">
                  <c:v>43159</c:v>
                </c:pt>
                <c:pt idx="15" c:formatCode="mmm/yy">
                  <c:v>43190</c:v>
                </c:pt>
                <c:pt idx="16" c:formatCode="mmm/yy">
                  <c:v>43220</c:v>
                </c:pt>
                <c:pt idx="17" c:formatCode="mmm/yy">
                  <c:v>43251</c:v>
                </c:pt>
                <c:pt idx="18" c:formatCode="mmm/yy">
                  <c:v>43281</c:v>
                </c:pt>
                <c:pt idx="19" c:formatCode="mmm/yy">
                  <c:v>43312</c:v>
                </c:pt>
                <c:pt idx="20" c:formatCode="mmm/yy">
                  <c:v>43343</c:v>
                </c:pt>
                <c:pt idx="21" c:formatCode="mmm/yy">
                  <c:v>43373</c:v>
                </c:pt>
                <c:pt idx="22" c:formatCode="mmm/yy">
                  <c:v>43404</c:v>
                </c:pt>
                <c:pt idx="23" c:formatCode="mmm/yy">
                  <c:v>43434</c:v>
                </c:pt>
                <c:pt idx="24" c:formatCode="mmm/yy">
                  <c:v>43465</c:v>
                </c:pt>
                <c:pt idx="25" c:formatCode="mmm/yy">
                  <c:v>43496</c:v>
                </c:pt>
                <c:pt idx="26" c:formatCode="mmm/yy">
                  <c:v>43524</c:v>
                </c:pt>
                <c:pt idx="27" c:formatCode="mmm/yy">
                  <c:v>43555</c:v>
                </c:pt>
                <c:pt idx="28" c:formatCode="mmm/yy">
                  <c:v>43585</c:v>
                </c:pt>
                <c:pt idx="29" c:formatCode="mmm/yy">
                  <c:v>43616</c:v>
                </c:pt>
                <c:pt idx="30" c:formatCode="mmm/yy">
                  <c:v>43646</c:v>
                </c:pt>
                <c:pt idx="31" c:formatCode="mmm/yy">
                  <c:v>43677</c:v>
                </c:pt>
                <c:pt idx="32" c:formatCode="mmm/yy">
                  <c:v>43708</c:v>
                </c:pt>
                <c:pt idx="33" c:formatCode="mmm/yy">
                  <c:v>43738</c:v>
                </c:pt>
                <c:pt idx="34" c:formatCode="mmm/yy">
                  <c:v>43769</c:v>
                </c:pt>
                <c:pt idx="35" c:formatCode="mmm/yy">
                  <c:v>43799</c:v>
                </c:pt>
                <c:pt idx="36" c:formatCode="mmm/yy">
                  <c:v>43830</c:v>
                </c:pt>
                <c:pt idx="37" c:formatCode="mmm/yy">
                  <c:v>43861</c:v>
                </c:pt>
                <c:pt idx="38" c:formatCode="mmm/yy">
                  <c:v>43890</c:v>
                </c:pt>
                <c:pt idx="39" c:formatCode="mmm/yy">
                  <c:v>43921</c:v>
                </c:pt>
                <c:pt idx="40" c:formatCode="mmm/yy">
                  <c:v>43951</c:v>
                </c:pt>
                <c:pt idx="41" c:formatCode="mmm/yy">
                  <c:v>43982</c:v>
                </c:pt>
                <c:pt idx="42" c:formatCode="mmm/yy">
                  <c:v>44012</c:v>
                </c:pt>
                <c:pt idx="43" c:formatCode="mmm/yy">
                  <c:v>44043</c:v>
                </c:pt>
                <c:pt idx="44" c:formatCode="mmm/yy">
                  <c:v>44074</c:v>
                </c:pt>
                <c:pt idx="45" c:formatCode="mmm/yy">
                  <c:v>44104</c:v>
                </c:pt>
                <c:pt idx="46" c:formatCode="mmm/yy">
                  <c:v>44135</c:v>
                </c:pt>
                <c:pt idx="47" c:formatCode="mmm/yy">
                  <c:v>44165</c:v>
                </c:pt>
                <c:pt idx="48" c:formatCode="mmm/yy">
                  <c:v>44196</c:v>
                </c:pt>
                <c:pt idx="49" c:formatCode="mmm/yy">
                  <c:v>44227</c:v>
                </c:pt>
                <c:pt idx="50" c:formatCode="mmm/yy">
                  <c:v>44255</c:v>
                </c:pt>
                <c:pt idx="51" c:formatCode="mmm/yy">
                  <c:v>44286</c:v>
                </c:pt>
                <c:pt idx="52" c:formatCode="mmm/yy">
                  <c:v>44316</c:v>
                </c:pt>
                <c:pt idx="53" c:formatCode="mmm/yy">
                  <c:v>44347</c:v>
                </c:pt>
                <c:pt idx="54" c:formatCode="mmm/yy">
                  <c:v>44377</c:v>
                </c:pt>
                <c:pt idx="55" c:formatCode="mmm/yy">
                  <c:v>44408</c:v>
                </c:pt>
                <c:pt idx="56" c:formatCode="mmm/yy">
                  <c:v>44439</c:v>
                </c:pt>
                <c:pt idx="57" c:formatCode="mmm/yy">
                  <c:v>44469</c:v>
                </c:pt>
                <c:pt idx="58" c:formatCode="mmm/yy">
                  <c:v>44500</c:v>
                </c:pt>
                <c:pt idx="59" c:formatCode="mmm/yy">
                  <c:v>44530</c:v>
                </c:pt>
                <c:pt idx="60" c:formatCode="mmm/yy">
                  <c:v>44561</c:v>
                </c:pt>
                <c:pt idx="61" c:formatCode="mmm/yy">
                  <c:v>44592</c:v>
                </c:pt>
                <c:pt idx="62" c:formatCode="mmm/yy">
                  <c:v>44620</c:v>
                </c:pt>
                <c:pt idx="63" c:formatCode="mmm/yy">
                  <c:v>44651</c:v>
                </c:pt>
                <c:pt idx="64" c:formatCode="mmm/yy">
                  <c:v>44681</c:v>
                </c:pt>
                <c:pt idx="65" c:formatCode="mmm/yy">
                  <c:v>44712</c:v>
                </c:pt>
                <c:pt idx="66" c:formatCode="mmm/yy">
                  <c:v>44742</c:v>
                </c:pt>
                <c:pt idx="67" c:formatCode="mmm/yy">
                  <c:v>44773</c:v>
                </c:pt>
                <c:pt idx="68" c:formatCode="mmm/yy">
                  <c:v>44804</c:v>
                </c:pt>
                <c:pt idx="69" c:formatCode="mmm/yy">
                  <c:v>44834</c:v>
                </c:pt>
                <c:pt idx="70" c:formatCode="mmm/yy">
                  <c:v>44865</c:v>
                </c:pt>
                <c:pt idx="71" c:formatCode="mmm/yy">
                  <c:v>44895</c:v>
                </c:pt>
                <c:pt idx="72" c:formatCode="mmm/yy">
                  <c:v>44926</c:v>
                </c:pt>
                <c:pt idx="73" c:formatCode="mmm/yy">
                  <c:v>44957</c:v>
                </c:pt>
                <c:pt idx="74" c:formatCode="mmm/yy">
                  <c:v>44985</c:v>
                </c:pt>
                <c:pt idx="75" c:formatCode="mmm/yy">
                  <c:v>45016</c:v>
                </c:pt>
                <c:pt idx="76" c:formatCode="mmm/yy">
                  <c:v>45046</c:v>
                </c:pt>
                <c:pt idx="77" c:formatCode="mmm/yy">
                  <c:v>45077</c:v>
                </c:pt>
                <c:pt idx="78" c:formatCode="mmm/yy">
                  <c:v>45107</c:v>
                </c:pt>
                <c:pt idx="79" c:formatCode="mmm/yy">
                  <c:v>45138</c:v>
                </c:pt>
                <c:pt idx="80" c:formatCode="mmm/yy">
                  <c:v>45169</c:v>
                </c:pt>
                <c:pt idx="81" c:formatCode="mmm/yy">
                  <c:v>45199</c:v>
                </c:pt>
                <c:pt idx="82" c:formatCode="mmm/yy">
                  <c:v>45230</c:v>
                </c:pt>
                <c:pt idx="83" c:formatCode="mmm/yy">
                  <c:v>45260</c:v>
                </c:pt>
                <c:pt idx="84" c:formatCode="mmm/yy">
                  <c:v>45291</c:v>
                </c:pt>
                <c:pt idx="85" c:formatCode="mmm/yy">
                  <c:v>45322</c:v>
                </c:pt>
                <c:pt idx="86" c:formatCode="mmm/yy">
                  <c:v>45351</c:v>
                </c:pt>
                <c:pt idx="87" c:formatCode="mmm/yy">
                  <c:v>45382</c:v>
                </c:pt>
                <c:pt idx="88" c:formatCode="mmm/yy">
                  <c:v>45412</c:v>
                </c:pt>
                <c:pt idx="89" c:formatCode="mmm/yy">
                  <c:v>45443</c:v>
                </c:pt>
                <c:pt idx="90" c:formatCode="mmm/yy">
                  <c:v>45473</c:v>
                </c:pt>
                <c:pt idx="91" c:formatCode="mmm/yy">
                  <c:v>45504</c:v>
                </c:pt>
                <c:pt idx="92" c:formatCode="mmm/yy">
                  <c:v>45535</c:v>
                </c:pt>
                <c:pt idx="93" c:formatCode="mmm/yy">
                  <c:v>45565</c:v>
                </c:pt>
                <c:pt idx="94" c:formatCode="mmm/yy">
                  <c:v>45596</c:v>
                </c:pt>
                <c:pt idx="95" c:formatCode="mmm/yy">
                  <c:v>45626</c:v>
                </c:pt>
                <c:pt idx="96" c:formatCode="mmm/yy">
                  <c:v>45657</c:v>
                </c:pt>
                <c:pt idx="97" c:formatCode="mmm/yy">
                  <c:v>45688</c:v>
                </c:pt>
                <c:pt idx="98" c:formatCode="mmm/yy">
                  <c:v>45716</c:v>
                </c:pt>
                <c:pt idx="99" c:formatCode="mmm/yy">
                  <c:v>45747</c:v>
                </c:pt>
                <c:pt idx="100" c:formatCode="mmm/yy">
                  <c:v>45777</c:v>
                </c:pt>
                <c:pt idx="101" c:formatCode="mmm/yy">
                  <c:v>45808</c:v>
                </c:pt>
              </c:numCache>
            </c:numRef>
          </c:cat>
          <c:val>
            <c:numRef>
              <c:f>Sheet1!$B$2:$B$103</c:f>
              <c:numCache>
                <c:formatCode>#,##0.0</c:formatCode>
                <c:ptCount val="102"/>
                <c:pt idx="0">
                  <c:v>100</c:v>
                </c:pt>
                <c:pt idx="1">
                  <c:v>102.931919020093</c:v>
                </c:pt>
                <c:pt idx="2">
                  <c:v>106.510138740662</c:v>
                </c:pt>
                <c:pt idx="3">
                  <c:v>108.010769872528</c:v>
                </c:pt>
                <c:pt idx="4">
                  <c:v>110.139282405777</c:v>
                </c:pt>
                <c:pt idx="5">
                  <c:v>112.44494525676</c:v>
                </c:pt>
                <c:pt idx="6">
                  <c:v>114.03604765181</c:v>
                </c:pt>
                <c:pt idx="7">
                  <c:v>117.378608692826</c:v>
                </c:pt>
                <c:pt idx="8">
                  <c:v>118.497310240589</c:v>
                </c:pt>
                <c:pt idx="9">
                  <c:v>121.862082789332</c:v>
                </c:pt>
                <c:pt idx="10">
                  <c:v>125.51018749763</c:v>
                </c:pt>
                <c:pt idx="11">
                  <c:v>126.910054228584</c:v>
                </c:pt>
                <c:pt idx="12">
                  <c:v>130.102552156412</c:v>
                </c:pt>
                <c:pt idx="13">
                  <c:v>133.554003759704</c:v>
                </c:pt>
                <c:pt idx="14">
                  <c:v>130.874537485982</c:v>
                </c:pt>
                <c:pt idx="15">
                  <c:v>124.193749356679</c:v>
                </c:pt>
                <c:pt idx="16">
                  <c:v>130.585246141428</c:v>
                </c:pt>
                <c:pt idx="17">
                  <c:v>131.605892008733</c:v>
                </c:pt>
                <c:pt idx="18">
                  <c:v>132.669877403312</c:v>
                </c:pt>
                <c:pt idx="19">
                  <c:v>137.964342403935</c:v>
                </c:pt>
                <c:pt idx="20">
                  <c:v>143.398035635926</c:v>
                </c:pt>
                <c:pt idx="21">
                  <c:v>135.938219503871</c:v>
                </c:pt>
                <c:pt idx="22">
                  <c:v>128.002752059982</c:v>
                </c:pt>
                <c:pt idx="23">
                  <c:v>130.848533769618</c:v>
                </c:pt>
                <c:pt idx="24">
                  <c:v>130.317082816419</c:v>
                </c:pt>
                <c:pt idx="25">
                  <c:v>131.968860549654</c:v>
                </c:pt>
                <c:pt idx="26">
                  <c:v>135.043800009751</c:v>
                </c:pt>
                <c:pt idx="27">
                  <c:v>139.395630292163</c:v>
                </c:pt>
                <c:pt idx="28">
                  <c:v>141.394665987681</c:v>
                </c:pt>
                <c:pt idx="29">
                  <c:v>140.276506184009</c:v>
                </c:pt>
                <c:pt idx="30">
                  <c:v>141.285233681314</c:v>
                </c:pt>
                <c:pt idx="31">
                  <c:v>138.122531678486</c:v>
                </c:pt>
                <c:pt idx="32">
                  <c:v>137.963258915753</c:v>
                </c:pt>
                <c:pt idx="33">
                  <c:v>142.620091121356</c:v>
                </c:pt>
                <c:pt idx="34">
                  <c:v>147.697316741518</c:v>
                </c:pt>
                <c:pt idx="35">
                  <c:v>149.480196544756</c:v>
                </c:pt>
                <c:pt idx="36">
                  <c:v>150.309606747964</c:v>
                </c:pt>
                <c:pt idx="37">
                  <c:v>154.050349695811</c:v>
                </c:pt>
                <c:pt idx="38">
                  <c:v>147.334348200597</c:v>
                </c:pt>
                <c:pt idx="39">
                  <c:v>118.418215603313</c:v>
                </c:pt>
                <c:pt idx="40">
                  <c:v>135.184653473392</c:v>
                </c:pt>
                <c:pt idx="41">
                  <c:v>141.785263477239</c:v>
                </c:pt>
                <c:pt idx="42">
                  <c:v>150.497050203425</c:v>
                </c:pt>
                <c:pt idx="43">
                  <c:v>165.324585972079</c:v>
                </c:pt>
                <c:pt idx="44">
                  <c:v>175.434072452855</c:v>
                </c:pt>
                <c:pt idx="45">
                  <c:v>178.40228832704</c:v>
                </c:pt>
                <c:pt idx="46">
                  <c:v>176.608031897892</c:v>
                </c:pt>
                <c:pt idx="47">
                  <c:v>191.9876048952</c:v>
                </c:pt>
                <c:pt idx="48">
                  <c:v>200.732438010932</c:v>
                </c:pt>
                <c:pt idx="49">
                  <c:v>202.922709370547</c:v>
                </c:pt>
                <c:pt idx="50">
                  <c:v>209.981093131227</c:v>
                </c:pt>
                <c:pt idx="51">
                  <c:v>216.312998065974</c:v>
                </c:pt>
                <c:pt idx="52">
                  <c:v>227.435004252691</c:v>
                </c:pt>
                <c:pt idx="53">
                  <c:v>237.909084506661</c:v>
                </c:pt>
                <c:pt idx="54">
                  <c:v>245.606726294633</c:v>
                </c:pt>
                <c:pt idx="55">
                  <c:v>262.445757872896</c:v>
                </c:pt>
                <c:pt idx="56">
                  <c:v>273.288765852786</c:v>
                </c:pt>
                <c:pt idx="57">
                  <c:v>283.637703221752</c:v>
                </c:pt>
                <c:pt idx="58">
                  <c:v>287.903396193706</c:v>
                </c:pt>
                <c:pt idx="59">
                  <c:v>288.078921279166</c:v>
                </c:pt>
                <c:pt idx="60">
                  <c:v>295.023538780751</c:v>
                </c:pt>
                <c:pt idx="61">
                  <c:v>284.398311925413</c:v>
                </c:pt>
                <c:pt idx="62">
                  <c:v>272.555244353672</c:v>
                </c:pt>
                <c:pt idx="63">
                  <c:v>284.492033653143</c:v>
                </c:pt>
                <c:pt idx="64">
                  <c:v>274.775311638288</c:v>
                </c:pt>
                <c:pt idx="65">
                  <c:v>268.485120998543</c:v>
                </c:pt>
                <c:pt idx="66">
                  <c:v>253.684672434435</c:v>
                </c:pt>
                <c:pt idx="67">
                  <c:v>270.750153042706</c:v>
                </c:pt>
                <c:pt idx="68">
                  <c:v>278.05719734112</c:v>
                </c:pt>
                <c:pt idx="69">
                  <c:v>270.286961844964</c:v>
                </c:pt>
                <c:pt idx="70">
                  <c:v>281.416552448954</c:v>
                </c:pt>
                <c:pt idx="71">
                  <c:v>284.505577255416</c:v>
                </c:pt>
                <c:pt idx="72">
                  <c:v>276.467178434251</c:v>
                </c:pt>
                <c:pt idx="73">
                  <c:v>281.538986613504</c:v>
                </c:pt>
                <c:pt idx="74">
                  <c:v>281.61266380987</c:v>
                </c:pt>
                <c:pt idx="75">
                  <c:v>287.387114075053</c:v>
                </c:pt>
                <c:pt idx="76">
                  <c:v>303.343102785106</c:v>
                </c:pt>
                <c:pt idx="77">
                  <c:v>316.032916370965</c:v>
                </c:pt>
                <c:pt idx="78">
                  <c:v>323.052836301188</c:v>
                </c:pt>
                <c:pt idx="79">
                  <c:v>333.73277930971</c:v>
                </c:pt>
                <c:pt idx="80">
                  <c:v>332.214270622843</c:v>
                </c:pt>
                <c:pt idx="81">
                  <c:v>340.433070226287</c:v>
                </c:pt>
                <c:pt idx="82">
                  <c:v>340.254294676281</c:v>
                </c:pt>
                <c:pt idx="83">
                  <c:v>363.004837774732</c:v>
                </c:pt>
                <c:pt idx="84">
                  <c:v>380.540010509835</c:v>
                </c:pt>
                <c:pt idx="85">
                  <c:v>389.918142467861</c:v>
                </c:pt>
                <c:pt idx="86">
                  <c:v>405.170947347892</c:v>
                </c:pt>
                <c:pt idx="87">
                  <c:v>405.595674715178</c:v>
                </c:pt>
                <c:pt idx="88">
                  <c:v>416.949005628721</c:v>
                </c:pt>
                <c:pt idx="89">
                  <c:v>421.312212537042</c:v>
                </c:pt>
                <c:pt idx="90">
                  <c:v>443.896981943669</c:v>
                </c:pt>
                <c:pt idx="91">
                  <c:v>459.947775869635</c:v>
                </c:pt>
                <c:pt idx="92">
                  <c:v>465.286849651929</c:v>
                </c:pt>
                <c:pt idx="93">
                  <c:v>480.074844006066</c:v>
                </c:pt>
                <c:pt idx="94">
                  <c:v>465.799339766558</c:v>
                </c:pt>
                <c:pt idx="95">
                  <c:v>470.038488970541</c:v>
                </c:pt>
                <c:pt idx="96">
                  <c:v>474.963486467462</c:v>
                </c:pt>
                <c:pt idx="97">
                  <c:v>473.673593271975</c:v>
                </c:pt>
                <c:pt idx="98">
                  <c:v>452.309364772516</c:v>
                </c:pt>
                <c:pt idx="99">
                  <c:v>464.81707563657</c:v>
                </c:pt>
                <c:pt idx="100">
                  <c:v>473.548908845518</c:v>
                </c:pt>
                <c:pt idx="101">
                  <c:v>486.400165042481</c:v>
                </c:pt>
              </c:numCache>
            </c:numRef>
          </c:val>
          <c:smooth val="0"/>
        </c:ser>
        <c:ser>
          <c:idx val="1"/>
          <c:order val="1"/>
          <c:tx>
            <c:strRef>
              <c:f>Sheet1!$C$1</c:f>
              <c:strCache>
                <c:ptCount val="1"/>
                <c:pt idx="0">
                  <c:v>NSE 500 TRI</c:v>
                </c:pt>
              </c:strCache>
            </c:strRef>
          </c:tx>
          <c:spPr>
            <a:ln w="12700" cap="rnd">
              <a:solidFill>
                <a:srgbClr val="C00000"/>
              </a:solidFill>
              <a:round/>
            </a:ln>
            <a:effectLst/>
          </c:spPr>
          <c:marker>
            <c:symbol val="none"/>
          </c:marker>
          <c:dLbls>
            <c:delete val="1"/>
          </c:dLbls>
          <c:cat>
            <c:numRef>
              <c:f>Sheet1!$A$2:$A$103</c:f>
              <c:numCache>
                <c:formatCode>mmm/yy</c:formatCode>
                <c:ptCount val="102"/>
                <c:pt idx="0" c:formatCode="mmm/yy">
                  <c:v>42735</c:v>
                </c:pt>
                <c:pt idx="1" c:formatCode="mmm/yy">
                  <c:v>42766</c:v>
                </c:pt>
                <c:pt idx="2" c:formatCode="mmm/yy">
                  <c:v>42794</c:v>
                </c:pt>
                <c:pt idx="3" c:formatCode="mmm/yy">
                  <c:v>42825</c:v>
                </c:pt>
                <c:pt idx="4" c:formatCode="mmm/yy">
                  <c:v>42855</c:v>
                </c:pt>
                <c:pt idx="5" c:formatCode="mmm/yy">
                  <c:v>42886</c:v>
                </c:pt>
                <c:pt idx="6" c:formatCode="mmm/yy">
                  <c:v>42916</c:v>
                </c:pt>
                <c:pt idx="7" c:formatCode="mmm/yy">
                  <c:v>42947</c:v>
                </c:pt>
                <c:pt idx="8" c:formatCode="mmm/yy">
                  <c:v>42978</c:v>
                </c:pt>
                <c:pt idx="9" c:formatCode="mmm/yy">
                  <c:v>43008</c:v>
                </c:pt>
                <c:pt idx="10" c:formatCode="mmm/yy">
                  <c:v>43039</c:v>
                </c:pt>
                <c:pt idx="11" c:formatCode="mmm/yy">
                  <c:v>43069</c:v>
                </c:pt>
                <c:pt idx="12" c:formatCode="mmm/yy">
                  <c:v>43100</c:v>
                </c:pt>
                <c:pt idx="13" c:formatCode="mmm/yy">
                  <c:v>43131</c:v>
                </c:pt>
                <c:pt idx="14" c:formatCode="mmm/yy">
                  <c:v>43159</c:v>
                </c:pt>
                <c:pt idx="15" c:formatCode="mmm/yy">
                  <c:v>43190</c:v>
                </c:pt>
                <c:pt idx="16" c:formatCode="mmm/yy">
                  <c:v>43220</c:v>
                </c:pt>
                <c:pt idx="17" c:formatCode="mmm/yy">
                  <c:v>43251</c:v>
                </c:pt>
                <c:pt idx="18" c:formatCode="mmm/yy">
                  <c:v>43281</c:v>
                </c:pt>
                <c:pt idx="19" c:formatCode="mmm/yy">
                  <c:v>43312</c:v>
                </c:pt>
                <c:pt idx="20" c:formatCode="mmm/yy">
                  <c:v>43343</c:v>
                </c:pt>
                <c:pt idx="21" c:formatCode="mmm/yy">
                  <c:v>43373</c:v>
                </c:pt>
                <c:pt idx="22" c:formatCode="mmm/yy">
                  <c:v>43404</c:v>
                </c:pt>
                <c:pt idx="23" c:formatCode="mmm/yy">
                  <c:v>43434</c:v>
                </c:pt>
                <c:pt idx="24" c:formatCode="mmm/yy">
                  <c:v>43465</c:v>
                </c:pt>
                <c:pt idx="25" c:formatCode="mmm/yy">
                  <c:v>43496</c:v>
                </c:pt>
                <c:pt idx="26" c:formatCode="mmm/yy">
                  <c:v>43524</c:v>
                </c:pt>
                <c:pt idx="27" c:formatCode="mmm/yy">
                  <c:v>43555</c:v>
                </c:pt>
                <c:pt idx="28" c:formatCode="mmm/yy">
                  <c:v>43585</c:v>
                </c:pt>
                <c:pt idx="29" c:formatCode="mmm/yy">
                  <c:v>43616</c:v>
                </c:pt>
                <c:pt idx="30" c:formatCode="mmm/yy">
                  <c:v>43646</c:v>
                </c:pt>
                <c:pt idx="31" c:formatCode="mmm/yy">
                  <c:v>43677</c:v>
                </c:pt>
                <c:pt idx="32" c:formatCode="mmm/yy">
                  <c:v>43708</c:v>
                </c:pt>
                <c:pt idx="33" c:formatCode="mmm/yy">
                  <c:v>43738</c:v>
                </c:pt>
                <c:pt idx="34" c:formatCode="mmm/yy">
                  <c:v>43769</c:v>
                </c:pt>
                <c:pt idx="35" c:formatCode="mmm/yy">
                  <c:v>43799</c:v>
                </c:pt>
                <c:pt idx="36" c:formatCode="mmm/yy">
                  <c:v>43830</c:v>
                </c:pt>
                <c:pt idx="37" c:formatCode="mmm/yy">
                  <c:v>43861</c:v>
                </c:pt>
                <c:pt idx="38" c:formatCode="mmm/yy">
                  <c:v>43890</c:v>
                </c:pt>
                <c:pt idx="39" c:formatCode="mmm/yy">
                  <c:v>43921</c:v>
                </c:pt>
                <c:pt idx="40" c:formatCode="mmm/yy">
                  <c:v>43951</c:v>
                </c:pt>
                <c:pt idx="41" c:formatCode="mmm/yy">
                  <c:v>43982</c:v>
                </c:pt>
                <c:pt idx="42" c:formatCode="mmm/yy">
                  <c:v>44012</c:v>
                </c:pt>
                <c:pt idx="43" c:formatCode="mmm/yy">
                  <c:v>44043</c:v>
                </c:pt>
                <c:pt idx="44" c:formatCode="mmm/yy">
                  <c:v>44074</c:v>
                </c:pt>
                <c:pt idx="45" c:formatCode="mmm/yy">
                  <c:v>44104</c:v>
                </c:pt>
                <c:pt idx="46" c:formatCode="mmm/yy">
                  <c:v>44135</c:v>
                </c:pt>
                <c:pt idx="47" c:formatCode="mmm/yy">
                  <c:v>44165</c:v>
                </c:pt>
                <c:pt idx="48" c:formatCode="mmm/yy">
                  <c:v>44196</c:v>
                </c:pt>
                <c:pt idx="49" c:formatCode="mmm/yy">
                  <c:v>44227</c:v>
                </c:pt>
                <c:pt idx="50" c:formatCode="mmm/yy">
                  <c:v>44255</c:v>
                </c:pt>
                <c:pt idx="51" c:formatCode="mmm/yy">
                  <c:v>44286</c:v>
                </c:pt>
                <c:pt idx="52" c:formatCode="mmm/yy">
                  <c:v>44316</c:v>
                </c:pt>
                <c:pt idx="53" c:formatCode="mmm/yy">
                  <c:v>44347</c:v>
                </c:pt>
                <c:pt idx="54" c:formatCode="mmm/yy">
                  <c:v>44377</c:v>
                </c:pt>
                <c:pt idx="55" c:formatCode="mmm/yy">
                  <c:v>44408</c:v>
                </c:pt>
                <c:pt idx="56" c:formatCode="mmm/yy">
                  <c:v>44439</c:v>
                </c:pt>
                <c:pt idx="57" c:formatCode="mmm/yy">
                  <c:v>44469</c:v>
                </c:pt>
                <c:pt idx="58" c:formatCode="mmm/yy">
                  <c:v>44500</c:v>
                </c:pt>
                <c:pt idx="59" c:formatCode="mmm/yy">
                  <c:v>44530</c:v>
                </c:pt>
                <c:pt idx="60" c:formatCode="mmm/yy">
                  <c:v>44561</c:v>
                </c:pt>
                <c:pt idx="61" c:formatCode="mmm/yy">
                  <c:v>44592</c:v>
                </c:pt>
                <c:pt idx="62" c:formatCode="mmm/yy">
                  <c:v>44620</c:v>
                </c:pt>
                <c:pt idx="63" c:formatCode="mmm/yy">
                  <c:v>44651</c:v>
                </c:pt>
                <c:pt idx="64" c:formatCode="mmm/yy">
                  <c:v>44681</c:v>
                </c:pt>
                <c:pt idx="65" c:formatCode="mmm/yy">
                  <c:v>44712</c:v>
                </c:pt>
                <c:pt idx="66" c:formatCode="mmm/yy">
                  <c:v>44742</c:v>
                </c:pt>
                <c:pt idx="67" c:formatCode="mmm/yy">
                  <c:v>44773</c:v>
                </c:pt>
                <c:pt idx="68" c:formatCode="mmm/yy">
                  <c:v>44804</c:v>
                </c:pt>
                <c:pt idx="69" c:formatCode="mmm/yy">
                  <c:v>44834</c:v>
                </c:pt>
                <c:pt idx="70" c:formatCode="mmm/yy">
                  <c:v>44865</c:v>
                </c:pt>
                <c:pt idx="71" c:formatCode="mmm/yy">
                  <c:v>44895</c:v>
                </c:pt>
                <c:pt idx="72" c:formatCode="mmm/yy">
                  <c:v>44926</c:v>
                </c:pt>
                <c:pt idx="73" c:formatCode="mmm/yy">
                  <c:v>44957</c:v>
                </c:pt>
                <c:pt idx="74" c:formatCode="mmm/yy">
                  <c:v>44985</c:v>
                </c:pt>
                <c:pt idx="75" c:formatCode="mmm/yy">
                  <c:v>45016</c:v>
                </c:pt>
                <c:pt idx="76" c:formatCode="mmm/yy">
                  <c:v>45046</c:v>
                </c:pt>
                <c:pt idx="77" c:formatCode="mmm/yy">
                  <c:v>45077</c:v>
                </c:pt>
                <c:pt idx="78" c:formatCode="mmm/yy">
                  <c:v>45107</c:v>
                </c:pt>
                <c:pt idx="79" c:formatCode="mmm/yy">
                  <c:v>45138</c:v>
                </c:pt>
                <c:pt idx="80" c:formatCode="mmm/yy">
                  <c:v>45169</c:v>
                </c:pt>
                <c:pt idx="81" c:formatCode="mmm/yy">
                  <c:v>45199</c:v>
                </c:pt>
                <c:pt idx="82" c:formatCode="mmm/yy">
                  <c:v>45230</c:v>
                </c:pt>
                <c:pt idx="83" c:formatCode="mmm/yy">
                  <c:v>45260</c:v>
                </c:pt>
                <c:pt idx="84" c:formatCode="mmm/yy">
                  <c:v>45291</c:v>
                </c:pt>
                <c:pt idx="85" c:formatCode="mmm/yy">
                  <c:v>45322</c:v>
                </c:pt>
                <c:pt idx="86" c:formatCode="mmm/yy">
                  <c:v>45351</c:v>
                </c:pt>
                <c:pt idx="87" c:formatCode="mmm/yy">
                  <c:v>45382</c:v>
                </c:pt>
                <c:pt idx="88" c:formatCode="mmm/yy">
                  <c:v>45412</c:v>
                </c:pt>
                <c:pt idx="89" c:formatCode="mmm/yy">
                  <c:v>45443</c:v>
                </c:pt>
                <c:pt idx="90" c:formatCode="mmm/yy">
                  <c:v>45473</c:v>
                </c:pt>
                <c:pt idx="91" c:formatCode="mmm/yy">
                  <c:v>45504</c:v>
                </c:pt>
                <c:pt idx="92" c:formatCode="mmm/yy">
                  <c:v>45535</c:v>
                </c:pt>
                <c:pt idx="93" c:formatCode="mmm/yy">
                  <c:v>45565</c:v>
                </c:pt>
                <c:pt idx="94" c:formatCode="mmm/yy">
                  <c:v>45596</c:v>
                </c:pt>
                <c:pt idx="95" c:formatCode="mmm/yy">
                  <c:v>45626</c:v>
                </c:pt>
                <c:pt idx="96" c:formatCode="mmm/yy">
                  <c:v>45657</c:v>
                </c:pt>
                <c:pt idx="97" c:formatCode="mmm/yy">
                  <c:v>45688</c:v>
                </c:pt>
                <c:pt idx="98" c:formatCode="mmm/yy">
                  <c:v>45716</c:v>
                </c:pt>
                <c:pt idx="99" c:formatCode="mmm/yy">
                  <c:v>45747</c:v>
                </c:pt>
                <c:pt idx="100" c:formatCode="mmm/yy">
                  <c:v>45777</c:v>
                </c:pt>
                <c:pt idx="101" c:formatCode="mmm/yy">
                  <c:v>45808</c:v>
                </c:pt>
              </c:numCache>
            </c:numRef>
          </c:cat>
          <c:val>
            <c:numRef>
              <c:f>Sheet1!$C$2:$C$103</c:f>
              <c:numCache>
                <c:formatCode>#,##0.0</c:formatCode>
                <c:ptCount val="102"/>
                <c:pt idx="0">
                  <c:v>100</c:v>
                </c:pt>
                <c:pt idx="1">
                  <c:v>105.699440803974</c:v>
                </c:pt>
                <c:pt idx="2">
                  <c:v>110.584803142196</c:v>
                </c:pt>
                <c:pt idx="3">
                  <c:v>114.896704755395</c:v>
                </c:pt>
                <c:pt idx="4">
                  <c:v>118.103191231172</c:v>
                </c:pt>
                <c:pt idx="5">
                  <c:v>120.128184173118</c:v>
                </c:pt>
                <c:pt idx="6">
                  <c:v>120.186035453721</c:v>
                </c:pt>
                <c:pt idx="7">
                  <c:v>127.164247116104</c:v>
                </c:pt>
                <c:pt idx="8">
                  <c:v>125.880126995448</c:v>
                </c:pt>
                <c:pt idx="9">
                  <c:v>124.597690901796</c:v>
                </c:pt>
                <c:pt idx="10">
                  <c:v>132.688945353324</c:v>
                </c:pt>
                <c:pt idx="11">
                  <c:v>132.777802542881</c:v>
                </c:pt>
                <c:pt idx="12">
                  <c:v>137.654546625259</c:v>
                </c:pt>
                <c:pt idx="13">
                  <c:v>140.696394696306</c:v>
                </c:pt>
                <c:pt idx="14">
                  <c:v>134.578423651664</c:v>
                </c:pt>
                <c:pt idx="15">
                  <c:v>129.679787218235</c:v>
                </c:pt>
                <c:pt idx="16">
                  <c:v>138.193435266497</c:v>
                </c:pt>
                <c:pt idx="17">
                  <c:v>135.768436380927</c:v>
                </c:pt>
                <c:pt idx="18">
                  <c:v>133.764147065088</c:v>
                </c:pt>
                <c:pt idx="19">
                  <c:v>141.23062749818</c:v>
                </c:pt>
                <c:pt idx="20">
                  <c:v>146.440511746088</c:v>
                </c:pt>
                <c:pt idx="21">
                  <c:v>133.694507595457</c:v>
                </c:pt>
                <c:pt idx="22">
                  <c:v>128.477689118709</c:v>
                </c:pt>
                <c:pt idx="23">
                  <c:v>133.761868675612</c:v>
                </c:pt>
                <c:pt idx="24">
                  <c:v>134.713542053621</c:v>
                </c:pt>
                <c:pt idx="25">
                  <c:v>132.322917131012</c:v>
                </c:pt>
                <c:pt idx="26">
                  <c:v>131.782047281535</c:v>
                </c:pt>
                <c:pt idx="27">
                  <c:v>142.29622034998</c:v>
                </c:pt>
                <c:pt idx="28">
                  <c:v>142.313456861667</c:v>
                </c:pt>
                <c:pt idx="29">
                  <c:v>144.539146198309</c:v>
                </c:pt>
                <c:pt idx="30">
                  <c:v>142.635106019406</c:v>
                </c:pt>
                <c:pt idx="31">
                  <c:v>133.950479700045</c:v>
                </c:pt>
                <c:pt idx="32">
                  <c:v>133.229319900741</c:v>
                </c:pt>
                <c:pt idx="33">
                  <c:v>138.656443632149</c:v>
                </c:pt>
                <c:pt idx="34">
                  <c:v>144.024824539245</c:v>
                </c:pt>
                <c:pt idx="35">
                  <c:v>145.913708475114</c:v>
                </c:pt>
                <c:pt idx="36">
                  <c:v>146.800497283268</c:v>
                </c:pt>
                <c:pt idx="37">
                  <c:v>146.654680356816</c:v>
                </c:pt>
                <c:pt idx="38">
                  <c:v>137.449689693259</c:v>
                </c:pt>
                <c:pt idx="39">
                  <c:v>104.413933837551</c:v>
                </c:pt>
                <c:pt idx="40">
                  <c:v>119.589988954764</c:v>
                </c:pt>
                <c:pt idx="41">
                  <c:v>116.8271940643</c:v>
                </c:pt>
                <c:pt idx="42">
                  <c:v>126.633382368237</c:v>
                </c:pt>
                <c:pt idx="43">
                  <c:v>135.26491230677</c:v>
                </c:pt>
                <c:pt idx="44">
                  <c:v>140.461126217824</c:v>
                </c:pt>
                <c:pt idx="45">
                  <c:v>140.069243227983</c:v>
                </c:pt>
                <c:pt idx="46">
                  <c:v>143.851171637023</c:v>
                </c:pt>
                <c:pt idx="47">
                  <c:v>161.028841438952</c:v>
                </c:pt>
                <c:pt idx="48">
                  <c:v>173.066365523014</c:v>
                </c:pt>
                <c:pt idx="49">
                  <c:v>169.861563074241</c:v>
                </c:pt>
                <c:pt idx="50">
                  <c:v>183.309905545897</c:v>
                </c:pt>
                <c:pt idx="51">
                  <c:v>185.413750575789</c:v>
                </c:pt>
                <c:pt idx="52">
                  <c:v>186.253683809071</c:v>
                </c:pt>
                <c:pt idx="53">
                  <c:v>199.48884827412</c:v>
                </c:pt>
                <c:pt idx="54">
                  <c:v>203.590939934719</c:v>
                </c:pt>
                <c:pt idx="55">
                  <c:v>206.804459699748</c:v>
                </c:pt>
                <c:pt idx="56">
                  <c:v>220.445177491493</c:v>
                </c:pt>
                <c:pt idx="57">
                  <c:v>228.127015260256</c:v>
                </c:pt>
                <c:pt idx="58">
                  <c:v>228.839160562069</c:v>
                </c:pt>
                <c:pt idx="59">
                  <c:v>222.368237269499</c:v>
                </c:pt>
                <c:pt idx="60">
                  <c:v>227.748604486446</c:v>
                </c:pt>
                <c:pt idx="61">
                  <c:v>226.665874183371</c:v>
                </c:pt>
                <c:pt idx="62">
                  <c:v>217.721412403354</c:v>
                </c:pt>
                <c:pt idx="63">
                  <c:v>226.740763854837</c:v>
                </c:pt>
                <c:pt idx="64">
                  <c:v>225.124791354007</c:v>
                </c:pt>
                <c:pt idx="65">
                  <c:v>215.613109654923</c:v>
                </c:pt>
                <c:pt idx="66">
                  <c:v>204.730828095514</c:v>
                </c:pt>
                <c:pt idx="67">
                  <c:v>224.65207506798</c:v>
                </c:pt>
                <c:pt idx="68">
                  <c:v>235.173083304853</c:v>
                </c:pt>
                <c:pt idx="69">
                  <c:v>227.635378435539</c:v>
                </c:pt>
                <c:pt idx="70">
                  <c:v>236.950128035582</c:v>
                </c:pt>
                <c:pt idx="71">
                  <c:v>245.060501146624</c:v>
                </c:pt>
                <c:pt idx="72">
                  <c:v>237.419278146778</c:v>
                </c:pt>
                <c:pt idx="73">
                  <c:v>229.573000094107</c:v>
                </c:pt>
                <c:pt idx="74">
                  <c:v>223.345071992154</c:v>
                </c:pt>
                <c:pt idx="75">
                  <c:v>223.971034735533</c:v>
                </c:pt>
                <c:pt idx="76">
                  <c:v>234.217843752012</c:v>
                </c:pt>
                <c:pt idx="77">
                  <c:v>243.075330490299</c:v>
                </c:pt>
                <c:pt idx="78">
                  <c:v>253.652208799536</c:v>
                </c:pt>
                <c:pt idx="79">
                  <c:v>263.624719535208</c:v>
                </c:pt>
                <c:pt idx="80">
                  <c:v>262.032323412433</c:v>
                </c:pt>
                <c:pt idx="81">
                  <c:v>267.777530126748</c:v>
                </c:pt>
                <c:pt idx="82">
                  <c:v>260.348197348152</c:v>
                </c:pt>
                <c:pt idx="83">
                  <c:v>278.965611177977</c:v>
                </c:pt>
                <c:pt idx="84">
                  <c:v>301.319979989796</c:v>
                </c:pt>
                <c:pt idx="85">
                  <c:v>307.197927656181</c:v>
                </c:pt>
                <c:pt idx="86">
                  <c:v>312.020935120383</c:v>
                </c:pt>
                <c:pt idx="87">
                  <c:v>314.635430663799</c:v>
                </c:pt>
                <c:pt idx="88">
                  <c:v>326.166887422746</c:v>
                </c:pt>
                <c:pt idx="89">
                  <c:v>328.552364488615</c:v>
                </c:pt>
                <c:pt idx="90">
                  <c:v>351.719386319617</c:v>
                </c:pt>
                <c:pt idx="91">
                  <c:v>367.16337414524</c:v>
                </c:pt>
                <c:pt idx="92">
                  <c:v>370.981873236351</c:v>
                </c:pt>
                <c:pt idx="93">
                  <c:v>379.020359317899</c:v>
                </c:pt>
                <c:pt idx="94">
                  <c:v>354.94452539002</c:v>
                </c:pt>
                <c:pt idx="95">
                  <c:v>355.107183210345</c:v>
                </c:pt>
                <c:pt idx="96">
                  <c:v>350.258157446093</c:v>
                </c:pt>
                <c:pt idx="97">
                  <c:v>338.103695460465</c:v>
                </c:pt>
                <c:pt idx="98">
                  <c:v>311.77769564423</c:v>
                </c:pt>
                <c:pt idx="99">
                  <c:v>334.702397827255</c:v>
                </c:pt>
                <c:pt idx="100">
                  <c:v>345.58442890796</c:v>
                </c:pt>
                <c:pt idx="101">
                  <c:v>358.206562653739</c:v>
                </c:pt>
              </c:numCache>
            </c:numRef>
          </c:val>
          <c:smooth val="0"/>
        </c:ser>
        <c:dLbls>
          <c:showLegendKey val="0"/>
          <c:showVal val="0"/>
          <c:showCatName val="0"/>
          <c:showSerName val="0"/>
          <c:showPercent val="0"/>
          <c:showBubbleSize val="0"/>
        </c:dLbls>
        <c:marker val="0"/>
        <c:smooth val="0"/>
        <c:axId val="1172110303"/>
        <c:axId val="1301341519"/>
      </c:lineChart>
      <c:dateAx>
        <c:axId val="1172110303"/>
        <c:scaling>
          <c:orientation val="minMax"/>
          <c:max val="45808"/>
          <c:min val="42705"/>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GB"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crossAx val="1301341519"/>
        <c:crosses val="autoZero"/>
        <c:auto val="1"/>
        <c:lblOffset val="100"/>
        <c:baseTimeUnit val="months"/>
        <c:majorUnit val="9"/>
        <c:majorTimeUnit val="months"/>
      </c:dateAx>
      <c:valAx>
        <c:axId val="1301341519"/>
        <c:scaling>
          <c:orientation val="minMax"/>
          <c:min val="100"/>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lang="en-GB"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crossAx val="1172110303"/>
        <c:crosses val="autoZero"/>
        <c:crossBetween val="midCat"/>
        <c:majorUnit val="75"/>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en-GB" sz="9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legend>
    <c:plotVisOnly val="1"/>
    <c:dispBlanksAs val="gap"/>
    <c:showDLblsOverMax val="0"/>
    <c:extLst>
      <c:ext uri="{0b15fc19-7d7d-44ad-8c2d-2c3a37ce22c3}">
        <chartProps xmlns="https://web.wps.cn/et/2018/main" chartId="{efc22261-2712-4833-a7cd-1b8efcf15301}"/>
      </c:ext>
    </c:extLst>
  </c:chart>
  <c:spPr>
    <a:noFill/>
    <a:ln>
      <a:noFill/>
    </a:ln>
    <a:effectLst/>
  </c:spPr>
  <c:txPr>
    <a:bodyPr/>
    <a:lstStyle/>
    <a:p>
      <a:pPr>
        <a:defRPr lang="en-GB" sz="900">
          <a:latin typeface="Calibri" panose="020F0502020204030204" pitchFamily="34" charset="0"/>
          <a:cs typeface="Calibri" panose="020F0502020204030204" pitchFamily="34" charset="0"/>
        </a:defRPr>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GB" sz="10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GB" dirty="0"/>
              <a:t>White</a:t>
            </a:r>
            <a:r>
              <a:rPr lang="en-GB" baseline="0" dirty="0"/>
              <a:t> Oak</a:t>
            </a:r>
            <a:r>
              <a:rPr lang="en-GB" dirty="0"/>
              <a:t> Flexi Cap vs BSE 500 TRI</a:t>
            </a:r>
            <a:endParaRPr lang="en-GB" dirty="0"/>
          </a:p>
        </c:rich>
      </c:tx>
      <c:layout/>
      <c:overlay val="0"/>
      <c:spPr>
        <a:noFill/>
        <a:ln>
          <a:noFill/>
        </a:ln>
        <a:effectLst/>
      </c:spPr>
    </c:title>
    <c:autoTitleDeleted val="0"/>
    <c:plotArea>
      <c:layout>
        <c:manualLayout>
          <c:layoutTarget val="inner"/>
          <c:xMode val="edge"/>
          <c:yMode val="edge"/>
          <c:x val="0.108040970632176"/>
          <c:y val="0.150720988369987"/>
          <c:w val="0.837005457531139"/>
          <c:h val="0.510346545415021"/>
        </c:manualLayout>
      </c:layout>
      <c:lineChart>
        <c:grouping val="standard"/>
        <c:varyColors val="0"/>
        <c:ser>
          <c:idx val="0"/>
          <c:order val="0"/>
          <c:tx>
            <c:strRef>
              <c:f>Sheet1!$B$1</c:f>
              <c:strCache>
                <c:ptCount val="1"/>
                <c:pt idx="0">
                  <c:v>White Oak Flexi Cap</c:v>
                </c:pt>
              </c:strCache>
            </c:strRef>
          </c:tx>
          <c:spPr>
            <a:ln w="12700" cap="rnd">
              <a:solidFill>
                <a:srgbClr val="00A290"/>
              </a:solidFill>
              <a:round/>
            </a:ln>
            <a:effectLst/>
          </c:spPr>
          <c:marker>
            <c:symbol val="none"/>
          </c:marker>
          <c:dLbls>
            <c:delete val="1"/>
          </c:dLbls>
          <c:cat>
            <c:numRef>
              <c:f>Sheet1!$A$2:$A$36</c:f>
              <c:numCache>
                <c:formatCode>mmm/yy</c:formatCode>
                <c:ptCount val="35"/>
                <c:pt idx="0" c:formatCode="mmm/yy">
                  <c:v>44773</c:v>
                </c:pt>
                <c:pt idx="1" c:formatCode="mmm/yy">
                  <c:v>44804</c:v>
                </c:pt>
                <c:pt idx="2" c:formatCode="mmm/yy">
                  <c:v>44834</c:v>
                </c:pt>
                <c:pt idx="3" c:formatCode="mmm/yy">
                  <c:v>44865</c:v>
                </c:pt>
                <c:pt idx="4" c:formatCode="mmm/yy">
                  <c:v>44895</c:v>
                </c:pt>
                <c:pt idx="5" c:formatCode="mmm/yy">
                  <c:v>44926</c:v>
                </c:pt>
                <c:pt idx="6" c:formatCode="mmm/yy">
                  <c:v>44957</c:v>
                </c:pt>
                <c:pt idx="7" c:formatCode="mmm/yy">
                  <c:v>44985</c:v>
                </c:pt>
                <c:pt idx="8" c:formatCode="mmm/yy">
                  <c:v>45016</c:v>
                </c:pt>
                <c:pt idx="9" c:formatCode="mmm/yy">
                  <c:v>45046</c:v>
                </c:pt>
                <c:pt idx="10" c:formatCode="mmm/yy">
                  <c:v>45077</c:v>
                </c:pt>
                <c:pt idx="11" c:formatCode="mmm/yy">
                  <c:v>45107</c:v>
                </c:pt>
                <c:pt idx="12" c:formatCode="mmm/yy">
                  <c:v>45138</c:v>
                </c:pt>
                <c:pt idx="13" c:formatCode="mmm/yy">
                  <c:v>45169</c:v>
                </c:pt>
                <c:pt idx="14" c:formatCode="mmm/yy">
                  <c:v>45199</c:v>
                </c:pt>
                <c:pt idx="15" c:formatCode="mmm/yy">
                  <c:v>45230</c:v>
                </c:pt>
                <c:pt idx="16" c:formatCode="mmm/yy">
                  <c:v>45260</c:v>
                </c:pt>
                <c:pt idx="17" c:formatCode="mmm/yy">
                  <c:v>45291</c:v>
                </c:pt>
                <c:pt idx="18" c:formatCode="mmm/yy">
                  <c:v>45322</c:v>
                </c:pt>
                <c:pt idx="19" c:formatCode="mmm/yy">
                  <c:v>45351</c:v>
                </c:pt>
                <c:pt idx="20" c:formatCode="mmm/yy">
                  <c:v>45382</c:v>
                </c:pt>
                <c:pt idx="21" c:formatCode="mmm/yy">
                  <c:v>45412</c:v>
                </c:pt>
                <c:pt idx="22" c:formatCode="mmm/yy">
                  <c:v>45443</c:v>
                </c:pt>
                <c:pt idx="23" c:formatCode="mmm/yy">
                  <c:v>45473</c:v>
                </c:pt>
                <c:pt idx="24" c:formatCode="mmm/yy">
                  <c:v>45504</c:v>
                </c:pt>
                <c:pt idx="25" c:formatCode="mmm/yy">
                  <c:v>45535</c:v>
                </c:pt>
                <c:pt idx="26" c:formatCode="mmm/yy">
                  <c:v>45565</c:v>
                </c:pt>
                <c:pt idx="27" c:formatCode="mmm/yy">
                  <c:v>45596</c:v>
                </c:pt>
                <c:pt idx="28" c:formatCode="mmm/yy">
                  <c:v>45626</c:v>
                </c:pt>
                <c:pt idx="29" c:formatCode="mmm/yy">
                  <c:v>45657</c:v>
                </c:pt>
                <c:pt idx="30" c:formatCode="mmm/yy">
                  <c:v>45688</c:v>
                </c:pt>
                <c:pt idx="31" c:formatCode="mmm/yy">
                  <c:v>45716</c:v>
                </c:pt>
                <c:pt idx="32" c:formatCode="mmm/yy">
                  <c:v>45747</c:v>
                </c:pt>
                <c:pt idx="33" c:formatCode="mmm/yy">
                  <c:v>45777</c:v>
                </c:pt>
                <c:pt idx="34" c:formatCode="mmm/yy">
                  <c:v>45808</c:v>
                </c:pt>
              </c:numCache>
            </c:numRef>
          </c:cat>
          <c:val>
            <c:numRef>
              <c:f>Sheet1!$B$2:$B$36</c:f>
              <c:numCache>
                <c:formatCode>#,##0.0</c:formatCode>
                <c:ptCount val="35"/>
                <c:pt idx="0">
                  <c:v>100</c:v>
                </c:pt>
                <c:pt idx="1">
                  <c:v>103.15</c:v>
                </c:pt>
                <c:pt idx="2">
                  <c:v>102.68</c:v>
                </c:pt>
                <c:pt idx="3">
                  <c:v>106.56</c:v>
                </c:pt>
                <c:pt idx="4">
                  <c:v>108.58</c:v>
                </c:pt>
                <c:pt idx="5">
                  <c:v>105.09</c:v>
                </c:pt>
                <c:pt idx="6">
                  <c:v>102.2</c:v>
                </c:pt>
                <c:pt idx="7">
                  <c:v>100.34</c:v>
                </c:pt>
                <c:pt idx="8">
                  <c:v>100.37</c:v>
                </c:pt>
                <c:pt idx="9">
                  <c:v>104.93</c:v>
                </c:pt>
                <c:pt idx="10">
                  <c:v>110.83</c:v>
                </c:pt>
                <c:pt idx="11">
                  <c:v>116.22</c:v>
                </c:pt>
                <c:pt idx="12">
                  <c:v>122</c:v>
                </c:pt>
                <c:pt idx="13">
                  <c:v>123.75</c:v>
                </c:pt>
                <c:pt idx="14">
                  <c:v>125.08</c:v>
                </c:pt>
                <c:pt idx="15">
                  <c:v>123.34</c:v>
                </c:pt>
                <c:pt idx="16">
                  <c:v>132.22</c:v>
                </c:pt>
                <c:pt idx="17">
                  <c:v>140.07</c:v>
                </c:pt>
                <c:pt idx="18">
                  <c:v>141.46</c:v>
                </c:pt>
                <c:pt idx="19">
                  <c:v>145.08</c:v>
                </c:pt>
                <c:pt idx="20">
                  <c:v>145.76</c:v>
                </c:pt>
                <c:pt idx="21">
                  <c:v>151.16</c:v>
                </c:pt>
                <c:pt idx="22">
                  <c:v>151.48</c:v>
                </c:pt>
                <c:pt idx="23">
                  <c:v>162.878495049505</c:v>
                </c:pt>
                <c:pt idx="24">
                  <c:v>169.667181940341</c:v>
                </c:pt>
                <c:pt idx="25">
                  <c:v>173.76634105602</c:v>
                </c:pt>
                <c:pt idx="26">
                  <c:v>179.775177130512</c:v>
                </c:pt>
                <c:pt idx="27">
                  <c:v>172.206643173123</c:v>
                </c:pt>
                <c:pt idx="28">
                  <c:v>175.476009889195</c:v>
                </c:pt>
                <c:pt idx="29">
                  <c:v>175.71596340964</c:v>
                </c:pt>
                <c:pt idx="30">
                  <c:v>165.727898121092</c:v>
                </c:pt>
                <c:pt idx="31">
                  <c:v>153.640239528645</c:v>
                </c:pt>
                <c:pt idx="32">
                  <c:v>164.528108743082</c:v>
                </c:pt>
                <c:pt idx="33">
                  <c:v>169.727100997968</c:v>
                </c:pt>
                <c:pt idx="34">
                  <c:v>176.385810309034</c:v>
                </c:pt>
              </c:numCache>
            </c:numRef>
          </c:val>
          <c:smooth val="0"/>
        </c:ser>
        <c:ser>
          <c:idx val="1"/>
          <c:order val="1"/>
          <c:tx>
            <c:strRef>
              <c:f>Sheet1!$C$1</c:f>
              <c:strCache>
                <c:ptCount val="1"/>
                <c:pt idx="0">
                  <c:v>BSE 500 TRI</c:v>
                </c:pt>
              </c:strCache>
            </c:strRef>
          </c:tx>
          <c:spPr>
            <a:ln w="12700" cap="rnd">
              <a:solidFill>
                <a:srgbClr val="C00000"/>
              </a:solidFill>
              <a:round/>
            </a:ln>
            <a:effectLst/>
          </c:spPr>
          <c:marker>
            <c:symbol val="none"/>
          </c:marker>
          <c:dLbls>
            <c:delete val="1"/>
          </c:dLbls>
          <c:cat>
            <c:numRef>
              <c:f>Sheet1!$A$2:$A$36</c:f>
              <c:numCache>
                <c:formatCode>mmm/yy</c:formatCode>
                <c:ptCount val="35"/>
                <c:pt idx="0" c:formatCode="mmm/yy">
                  <c:v>44773</c:v>
                </c:pt>
                <c:pt idx="1" c:formatCode="mmm/yy">
                  <c:v>44804</c:v>
                </c:pt>
                <c:pt idx="2" c:formatCode="mmm/yy">
                  <c:v>44834</c:v>
                </c:pt>
                <c:pt idx="3" c:formatCode="mmm/yy">
                  <c:v>44865</c:v>
                </c:pt>
                <c:pt idx="4" c:formatCode="mmm/yy">
                  <c:v>44895</c:v>
                </c:pt>
                <c:pt idx="5" c:formatCode="mmm/yy">
                  <c:v>44926</c:v>
                </c:pt>
                <c:pt idx="6" c:formatCode="mmm/yy">
                  <c:v>44957</c:v>
                </c:pt>
                <c:pt idx="7" c:formatCode="mmm/yy">
                  <c:v>44985</c:v>
                </c:pt>
                <c:pt idx="8" c:formatCode="mmm/yy">
                  <c:v>45016</c:v>
                </c:pt>
                <c:pt idx="9" c:formatCode="mmm/yy">
                  <c:v>45046</c:v>
                </c:pt>
                <c:pt idx="10" c:formatCode="mmm/yy">
                  <c:v>45077</c:v>
                </c:pt>
                <c:pt idx="11" c:formatCode="mmm/yy">
                  <c:v>45107</c:v>
                </c:pt>
                <c:pt idx="12" c:formatCode="mmm/yy">
                  <c:v>45138</c:v>
                </c:pt>
                <c:pt idx="13" c:formatCode="mmm/yy">
                  <c:v>45169</c:v>
                </c:pt>
                <c:pt idx="14" c:formatCode="mmm/yy">
                  <c:v>45199</c:v>
                </c:pt>
                <c:pt idx="15" c:formatCode="mmm/yy">
                  <c:v>45230</c:v>
                </c:pt>
                <c:pt idx="16" c:formatCode="mmm/yy">
                  <c:v>45260</c:v>
                </c:pt>
                <c:pt idx="17" c:formatCode="mmm/yy">
                  <c:v>45291</c:v>
                </c:pt>
                <c:pt idx="18" c:formatCode="mmm/yy">
                  <c:v>45322</c:v>
                </c:pt>
                <c:pt idx="19" c:formatCode="mmm/yy">
                  <c:v>45351</c:v>
                </c:pt>
                <c:pt idx="20" c:formatCode="mmm/yy">
                  <c:v>45382</c:v>
                </c:pt>
                <c:pt idx="21" c:formatCode="mmm/yy">
                  <c:v>45412</c:v>
                </c:pt>
                <c:pt idx="22" c:formatCode="mmm/yy">
                  <c:v>45443</c:v>
                </c:pt>
                <c:pt idx="23" c:formatCode="mmm/yy">
                  <c:v>45473</c:v>
                </c:pt>
                <c:pt idx="24" c:formatCode="mmm/yy">
                  <c:v>45504</c:v>
                </c:pt>
                <c:pt idx="25" c:formatCode="mmm/yy">
                  <c:v>45535</c:v>
                </c:pt>
                <c:pt idx="26" c:formatCode="mmm/yy">
                  <c:v>45565</c:v>
                </c:pt>
                <c:pt idx="27" c:formatCode="mmm/yy">
                  <c:v>45596</c:v>
                </c:pt>
                <c:pt idx="28" c:formatCode="mmm/yy">
                  <c:v>45626</c:v>
                </c:pt>
                <c:pt idx="29" c:formatCode="mmm/yy">
                  <c:v>45657</c:v>
                </c:pt>
                <c:pt idx="30" c:formatCode="mmm/yy">
                  <c:v>45688</c:v>
                </c:pt>
                <c:pt idx="31" c:formatCode="mmm/yy">
                  <c:v>45716</c:v>
                </c:pt>
                <c:pt idx="32" c:formatCode="mmm/yy">
                  <c:v>45747</c:v>
                </c:pt>
                <c:pt idx="33" c:formatCode="mmm/yy">
                  <c:v>45777</c:v>
                </c:pt>
                <c:pt idx="34" c:formatCode="mmm/yy">
                  <c:v>45808</c:v>
                </c:pt>
              </c:numCache>
            </c:numRef>
          </c:cat>
          <c:val>
            <c:numRef>
              <c:f>Sheet1!$C$2:$C$36</c:f>
              <c:numCache>
                <c:formatCode>#,##0.0</c:formatCode>
                <c:ptCount val="35"/>
                <c:pt idx="0">
                  <c:v>100</c:v>
                </c:pt>
                <c:pt idx="1">
                  <c:v>104.805636641874</c:v>
                </c:pt>
                <c:pt idx="2">
                  <c:v>101.427751600726</c:v>
                </c:pt>
                <c:pt idx="3">
                  <c:v>105.574154349616</c:v>
                </c:pt>
                <c:pt idx="4">
                  <c:v>109.22945276829</c:v>
                </c:pt>
                <c:pt idx="5">
                  <c:v>105.786629904866</c:v>
                </c:pt>
                <c:pt idx="6">
                  <c:v>102.257554748073</c:v>
                </c:pt>
                <c:pt idx="7">
                  <c:v>99.4473716685032</c:v>
                </c:pt>
                <c:pt idx="8">
                  <c:v>99.8017317171154</c:v>
                </c:pt>
                <c:pt idx="9">
                  <c:v>104.378771891742</c:v>
                </c:pt>
                <c:pt idx="10">
                  <c:v>108.319243966959</c:v>
                </c:pt>
                <c:pt idx="11">
                  <c:v>112.955480096141</c:v>
                </c:pt>
                <c:pt idx="12">
                  <c:v>117.414666964965</c:v>
                </c:pt>
                <c:pt idx="13">
                  <c:v>116.694840195583</c:v>
                </c:pt>
                <c:pt idx="14">
                  <c:v>119.153151470292</c:v>
                </c:pt>
                <c:pt idx="15">
                  <c:v>115.744591575835</c:v>
                </c:pt>
                <c:pt idx="16">
                  <c:v>123.913483880723</c:v>
                </c:pt>
                <c:pt idx="17">
                  <c:v>133.86918295904</c:v>
                </c:pt>
                <c:pt idx="18">
                  <c:v>136.43642651297</c:v>
                </c:pt>
                <c:pt idx="19">
                  <c:v>138.699752759482</c:v>
                </c:pt>
                <c:pt idx="20">
                  <c:v>139.886033985005</c:v>
                </c:pt>
                <c:pt idx="21">
                  <c:v>144.695169535668</c:v>
                </c:pt>
                <c:pt idx="22">
                  <c:v>145.903318897997</c:v>
                </c:pt>
                <c:pt idx="23">
                  <c:v>156.194376893524</c:v>
                </c:pt>
                <c:pt idx="24">
                  <c:v>163.136088512132</c:v>
                </c:pt>
                <c:pt idx="25">
                  <c:v>164.702194961849</c:v>
                </c:pt>
                <c:pt idx="26">
                  <c:v>168.140591719088</c:v>
                </c:pt>
                <c:pt idx="27">
                  <c:v>157.301348703609</c:v>
                </c:pt>
                <c:pt idx="28">
                  <c:v>157.38864807206</c:v>
                </c:pt>
                <c:pt idx="29">
                  <c:v>155.03519210492</c:v>
                </c:pt>
                <c:pt idx="30">
                  <c:v>149.713478797933</c:v>
                </c:pt>
                <c:pt idx="31">
                  <c:v>138.126460394697</c:v>
                </c:pt>
                <c:pt idx="32">
                  <c:v>148.230825351951</c:v>
                </c:pt>
                <c:pt idx="33">
                  <c:v>152.93972202611</c:v>
                </c:pt>
                <c:pt idx="34">
                  <c:v>158.353788185835</c:v>
                </c:pt>
              </c:numCache>
            </c:numRef>
          </c:val>
          <c:smooth val="0"/>
        </c:ser>
        <c:dLbls>
          <c:showLegendKey val="0"/>
          <c:showVal val="0"/>
          <c:showCatName val="0"/>
          <c:showSerName val="0"/>
          <c:showPercent val="0"/>
          <c:showBubbleSize val="0"/>
        </c:dLbls>
        <c:marker val="0"/>
        <c:smooth val="0"/>
        <c:axId val="1172110303"/>
        <c:axId val="1301341519"/>
      </c:lineChart>
      <c:dateAx>
        <c:axId val="1172110303"/>
        <c:scaling>
          <c:orientation val="minMax"/>
          <c:max val="45808"/>
          <c:min val="44743"/>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GB"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crossAx val="1301341519"/>
        <c:crosses val="autoZero"/>
        <c:auto val="1"/>
        <c:lblOffset val="100"/>
        <c:baseTimeUnit val="months"/>
        <c:majorUnit val="8"/>
        <c:majorTimeUnit val="days"/>
      </c:dateAx>
      <c:valAx>
        <c:axId val="1301341519"/>
        <c:scaling>
          <c:orientation val="minMax"/>
          <c:min val="100"/>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lang="en-GB"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crossAx val="1172110303"/>
        <c:crossesAt val="1"/>
        <c:crossBetween val="midCat"/>
        <c:majorUnit val="75"/>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en-GB" sz="9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legend>
    <c:plotVisOnly val="1"/>
    <c:dispBlanksAs val="gap"/>
    <c:showDLblsOverMax val="0"/>
    <c:extLst>
      <c:ext uri="{0b15fc19-7d7d-44ad-8c2d-2c3a37ce22c3}">
        <chartProps xmlns="https://web.wps.cn/et/2018/main" chartId="{20275190-66d9-477e-a0b4-7f2f66cd8310}"/>
      </c:ext>
    </c:extLst>
  </c:chart>
  <c:spPr>
    <a:noFill/>
    <a:ln>
      <a:noFill/>
    </a:ln>
    <a:effectLst/>
  </c:spPr>
  <c:txPr>
    <a:bodyPr/>
    <a:lstStyle/>
    <a:p>
      <a:pPr>
        <a:defRPr lang="en-GB" sz="900">
          <a:latin typeface="Calibri" panose="020F0502020204030204" pitchFamily="34" charset="0"/>
          <a:cs typeface="Calibri" panose="020F0502020204030204" pitchFamily="34" charset="0"/>
        </a:defRPr>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GB" sz="10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GB" dirty="0"/>
              <a:t>Nippon India Large Cap vs BSE 100 TRI</a:t>
            </a:r>
            <a:endParaRPr lang="en-GB" dirty="0"/>
          </a:p>
        </c:rich>
      </c:tx>
      <c:layout/>
      <c:overlay val="0"/>
      <c:spPr>
        <a:noFill/>
        <a:ln>
          <a:noFill/>
        </a:ln>
        <a:effectLst/>
      </c:spPr>
    </c:title>
    <c:autoTitleDeleted val="0"/>
    <c:plotArea>
      <c:layout>
        <c:manualLayout>
          <c:layoutTarget val="inner"/>
          <c:xMode val="edge"/>
          <c:yMode val="edge"/>
          <c:x val="0.108040970632176"/>
          <c:y val="0.150720988369987"/>
          <c:w val="0.837005457531139"/>
          <c:h val="0.510346545415021"/>
        </c:manualLayout>
      </c:layout>
      <c:lineChart>
        <c:grouping val="standard"/>
        <c:varyColors val="0"/>
        <c:ser>
          <c:idx val="0"/>
          <c:order val="0"/>
          <c:tx>
            <c:strRef>
              <c:f>Sheet1!$B$1</c:f>
              <c:strCache>
                <c:ptCount val="1"/>
                <c:pt idx="0">
                  <c:v>Nippon India Large Cap</c:v>
                </c:pt>
              </c:strCache>
            </c:strRef>
          </c:tx>
          <c:spPr>
            <a:ln w="12700" cap="rnd">
              <a:solidFill>
                <a:srgbClr val="00A290"/>
              </a:solidFill>
              <a:round/>
            </a:ln>
            <a:effectLst/>
          </c:spPr>
          <c:marker>
            <c:symbol val="none"/>
          </c:marker>
          <c:dLbls>
            <c:delete val="1"/>
          </c:dLbls>
          <c:cat>
            <c:numRef>
              <c:f>Sheet1!$A$2:$A$103</c:f>
              <c:numCache>
                <c:formatCode>mmm/yy</c:formatCode>
                <c:ptCount val="102"/>
                <c:pt idx="0" c:formatCode="mmm/yy">
                  <c:v>42735</c:v>
                </c:pt>
                <c:pt idx="1" c:formatCode="mmm/yy">
                  <c:v>42766</c:v>
                </c:pt>
                <c:pt idx="2" c:formatCode="mmm/yy">
                  <c:v>42794</c:v>
                </c:pt>
                <c:pt idx="3" c:formatCode="mmm/yy">
                  <c:v>42825</c:v>
                </c:pt>
                <c:pt idx="4" c:formatCode="mmm/yy">
                  <c:v>42855</c:v>
                </c:pt>
                <c:pt idx="5" c:formatCode="mmm/yy">
                  <c:v>42886</c:v>
                </c:pt>
                <c:pt idx="6" c:formatCode="mmm/yy">
                  <c:v>42916</c:v>
                </c:pt>
                <c:pt idx="7" c:formatCode="mmm/yy">
                  <c:v>42947</c:v>
                </c:pt>
                <c:pt idx="8" c:formatCode="mmm/yy">
                  <c:v>42978</c:v>
                </c:pt>
                <c:pt idx="9" c:formatCode="mmm/yy">
                  <c:v>43008</c:v>
                </c:pt>
                <c:pt idx="10" c:formatCode="mmm/yy">
                  <c:v>43039</c:v>
                </c:pt>
                <c:pt idx="11" c:formatCode="mmm/yy">
                  <c:v>43069</c:v>
                </c:pt>
                <c:pt idx="12" c:formatCode="mmm/yy">
                  <c:v>43100</c:v>
                </c:pt>
                <c:pt idx="13" c:formatCode="mmm/yy">
                  <c:v>43131</c:v>
                </c:pt>
                <c:pt idx="14" c:formatCode="mmm/yy">
                  <c:v>43159</c:v>
                </c:pt>
                <c:pt idx="15" c:formatCode="mmm/yy">
                  <c:v>43190</c:v>
                </c:pt>
                <c:pt idx="16" c:formatCode="mmm/yy">
                  <c:v>43220</c:v>
                </c:pt>
                <c:pt idx="17" c:formatCode="mmm/yy">
                  <c:v>43251</c:v>
                </c:pt>
                <c:pt idx="18" c:formatCode="mmm/yy">
                  <c:v>43281</c:v>
                </c:pt>
                <c:pt idx="19" c:formatCode="mmm/yy">
                  <c:v>43312</c:v>
                </c:pt>
                <c:pt idx="20" c:formatCode="mmm/yy">
                  <c:v>43343</c:v>
                </c:pt>
                <c:pt idx="21" c:formatCode="mmm/yy">
                  <c:v>43373</c:v>
                </c:pt>
                <c:pt idx="22" c:formatCode="mmm/yy">
                  <c:v>43404</c:v>
                </c:pt>
                <c:pt idx="23" c:formatCode="mmm/yy">
                  <c:v>43434</c:v>
                </c:pt>
                <c:pt idx="24" c:formatCode="mmm/yy">
                  <c:v>43465</c:v>
                </c:pt>
                <c:pt idx="25" c:formatCode="mmm/yy">
                  <c:v>43496</c:v>
                </c:pt>
                <c:pt idx="26" c:formatCode="mmm/yy">
                  <c:v>43524</c:v>
                </c:pt>
                <c:pt idx="27" c:formatCode="mmm/yy">
                  <c:v>43555</c:v>
                </c:pt>
                <c:pt idx="28" c:formatCode="mmm/yy">
                  <c:v>43585</c:v>
                </c:pt>
                <c:pt idx="29" c:formatCode="mmm/yy">
                  <c:v>43616</c:v>
                </c:pt>
                <c:pt idx="30" c:formatCode="mmm/yy">
                  <c:v>43646</c:v>
                </c:pt>
                <c:pt idx="31" c:formatCode="mmm/yy">
                  <c:v>43677</c:v>
                </c:pt>
                <c:pt idx="32" c:formatCode="mmm/yy">
                  <c:v>43708</c:v>
                </c:pt>
                <c:pt idx="33" c:formatCode="mmm/yy">
                  <c:v>43738</c:v>
                </c:pt>
                <c:pt idx="34" c:formatCode="mmm/yy">
                  <c:v>43769</c:v>
                </c:pt>
                <c:pt idx="35" c:formatCode="mmm/yy">
                  <c:v>43799</c:v>
                </c:pt>
                <c:pt idx="36" c:formatCode="mmm/yy">
                  <c:v>43830</c:v>
                </c:pt>
                <c:pt idx="37" c:formatCode="mmm/yy">
                  <c:v>43861</c:v>
                </c:pt>
                <c:pt idx="38" c:formatCode="mmm/yy">
                  <c:v>43890</c:v>
                </c:pt>
                <c:pt idx="39" c:formatCode="mmm/yy">
                  <c:v>43921</c:v>
                </c:pt>
                <c:pt idx="40" c:formatCode="mmm/yy">
                  <c:v>43951</c:v>
                </c:pt>
                <c:pt idx="41" c:formatCode="mmm/yy">
                  <c:v>43982</c:v>
                </c:pt>
                <c:pt idx="42" c:formatCode="mmm/yy">
                  <c:v>44012</c:v>
                </c:pt>
                <c:pt idx="43" c:formatCode="mmm/yy">
                  <c:v>44043</c:v>
                </c:pt>
                <c:pt idx="44" c:formatCode="mmm/yy">
                  <c:v>44074</c:v>
                </c:pt>
                <c:pt idx="45" c:formatCode="mmm/yy">
                  <c:v>44104</c:v>
                </c:pt>
                <c:pt idx="46" c:formatCode="mmm/yy">
                  <c:v>44135</c:v>
                </c:pt>
                <c:pt idx="47" c:formatCode="mmm/yy">
                  <c:v>44165</c:v>
                </c:pt>
                <c:pt idx="48" c:formatCode="mmm/yy">
                  <c:v>44196</c:v>
                </c:pt>
                <c:pt idx="49" c:formatCode="mmm/yy">
                  <c:v>44227</c:v>
                </c:pt>
                <c:pt idx="50" c:formatCode="mmm/yy">
                  <c:v>44255</c:v>
                </c:pt>
                <c:pt idx="51" c:formatCode="mmm/yy">
                  <c:v>44286</c:v>
                </c:pt>
                <c:pt idx="52" c:formatCode="mmm/yy">
                  <c:v>44316</c:v>
                </c:pt>
                <c:pt idx="53" c:formatCode="mmm/yy">
                  <c:v>44347</c:v>
                </c:pt>
                <c:pt idx="54" c:formatCode="mmm/yy">
                  <c:v>44377</c:v>
                </c:pt>
                <c:pt idx="55" c:formatCode="mmm/yy">
                  <c:v>44408</c:v>
                </c:pt>
                <c:pt idx="56" c:formatCode="mmm/yy">
                  <c:v>44439</c:v>
                </c:pt>
                <c:pt idx="57" c:formatCode="mmm/yy">
                  <c:v>44469</c:v>
                </c:pt>
                <c:pt idx="58" c:formatCode="mmm/yy">
                  <c:v>44500</c:v>
                </c:pt>
                <c:pt idx="59" c:formatCode="mmm/yy">
                  <c:v>44530</c:v>
                </c:pt>
                <c:pt idx="60" c:formatCode="mmm/yy">
                  <c:v>44561</c:v>
                </c:pt>
                <c:pt idx="61" c:formatCode="mmm/yy">
                  <c:v>44592</c:v>
                </c:pt>
                <c:pt idx="62" c:formatCode="mmm/yy">
                  <c:v>44620</c:v>
                </c:pt>
                <c:pt idx="63" c:formatCode="mmm/yy">
                  <c:v>44651</c:v>
                </c:pt>
                <c:pt idx="64" c:formatCode="mmm/yy">
                  <c:v>44681</c:v>
                </c:pt>
                <c:pt idx="65" c:formatCode="mmm/yy">
                  <c:v>44712</c:v>
                </c:pt>
                <c:pt idx="66" c:formatCode="mmm/yy">
                  <c:v>44742</c:v>
                </c:pt>
                <c:pt idx="67" c:formatCode="mmm/yy">
                  <c:v>44773</c:v>
                </c:pt>
                <c:pt idx="68" c:formatCode="mmm/yy">
                  <c:v>44804</c:v>
                </c:pt>
                <c:pt idx="69" c:formatCode="mmm/yy">
                  <c:v>44834</c:v>
                </c:pt>
                <c:pt idx="70" c:formatCode="mmm/yy">
                  <c:v>44865</c:v>
                </c:pt>
                <c:pt idx="71" c:formatCode="mmm/yy">
                  <c:v>44895</c:v>
                </c:pt>
                <c:pt idx="72" c:formatCode="mmm/yy">
                  <c:v>44926</c:v>
                </c:pt>
                <c:pt idx="73" c:formatCode="mmm/yy">
                  <c:v>44957</c:v>
                </c:pt>
                <c:pt idx="74" c:formatCode="mmm/yy">
                  <c:v>44985</c:v>
                </c:pt>
                <c:pt idx="75" c:formatCode="mmm/yy">
                  <c:v>45016</c:v>
                </c:pt>
                <c:pt idx="76" c:formatCode="mmm/yy">
                  <c:v>45046</c:v>
                </c:pt>
                <c:pt idx="77" c:formatCode="mmm/yy">
                  <c:v>45077</c:v>
                </c:pt>
                <c:pt idx="78" c:formatCode="mmm/yy">
                  <c:v>45107</c:v>
                </c:pt>
                <c:pt idx="79" c:formatCode="mmm/yy">
                  <c:v>45138</c:v>
                </c:pt>
                <c:pt idx="80" c:formatCode="mmm/yy">
                  <c:v>45169</c:v>
                </c:pt>
                <c:pt idx="81" c:formatCode="mmm/yy">
                  <c:v>45199</c:v>
                </c:pt>
                <c:pt idx="82" c:formatCode="mmm/yy">
                  <c:v>45230</c:v>
                </c:pt>
                <c:pt idx="83" c:formatCode="mmm/yy">
                  <c:v>45260</c:v>
                </c:pt>
                <c:pt idx="84" c:formatCode="mmm/yy">
                  <c:v>45291</c:v>
                </c:pt>
                <c:pt idx="85" c:formatCode="mmm/yy">
                  <c:v>45322</c:v>
                </c:pt>
                <c:pt idx="86" c:formatCode="mmm/yy">
                  <c:v>45351</c:v>
                </c:pt>
                <c:pt idx="87" c:formatCode="mmm/yy">
                  <c:v>45382</c:v>
                </c:pt>
                <c:pt idx="88" c:formatCode="mmm/yy">
                  <c:v>45412</c:v>
                </c:pt>
                <c:pt idx="89" c:formatCode="mmm/yy">
                  <c:v>45443</c:v>
                </c:pt>
                <c:pt idx="90" c:formatCode="mmm/yy">
                  <c:v>45473</c:v>
                </c:pt>
                <c:pt idx="91" c:formatCode="mmm/yy">
                  <c:v>45504</c:v>
                </c:pt>
                <c:pt idx="92" c:formatCode="mmm/yy">
                  <c:v>45535</c:v>
                </c:pt>
                <c:pt idx="93" c:formatCode="mmm/yy">
                  <c:v>45565</c:v>
                </c:pt>
                <c:pt idx="94" c:formatCode="mmm/yy">
                  <c:v>45596</c:v>
                </c:pt>
                <c:pt idx="95" c:formatCode="mmm/yy">
                  <c:v>45626</c:v>
                </c:pt>
                <c:pt idx="96" c:formatCode="mmm/yy">
                  <c:v>45657</c:v>
                </c:pt>
                <c:pt idx="97" c:formatCode="mmm/yy">
                  <c:v>45688</c:v>
                </c:pt>
                <c:pt idx="98" c:formatCode="mmm/yy">
                  <c:v>45716</c:v>
                </c:pt>
                <c:pt idx="99" c:formatCode="mmm/yy">
                  <c:v>45747</c:v>
                </c:pt>
                <c:pt idx="100" c:formatCode="mmm/yy">
                  <c:v>45777</c:v>
                </c:pt>
                <c:pt idx="101" c:formatCode="mmm/yy">
                  <c:v>45808</c:v>
                </c:pt>
              </c:numCache>
            </c:numRef>
          </c:cat>
          <c:val>
            <c:numRef>
              <c:f>Sheet1!$B$2:$B$103</c:f>
              <c:numCache>
                <c:formatCode>#,##0.0</c:formatCode>
                <c:ptCount val="102"/>
                <c:pt idx="0">
                  <c:v>100</c:v>
                </c:pt>
                <c:pt idx="1">
                  <c:v>104.713294360772</c:v>
                </c:pt>
                <c:pt idx="2">
                  <c:v>110.946759836283</c:v>
                </c:pt>
                <c:pt idx="3">
                  <c:v>115.202113202692</c:v>
                </c:pt>
                <c:pt idx="4">
                  <c:v>118.316031553301</c:v>
                </c:pt>
                <c:pt idx="5">
                  <c:v>121.02548226534</c:v>
                </c:pt>
                <c:pt idx="6">
                  <c:v>122.494994411431</c:v>
                </c:pt>
                <c:pt idx="7">
                  <c:v>128.872797742057</c:v>
                </c:pt>
                <c:pt idx="8">
                  <c:v>126.302056110839</c:v>
                </c:pt>
                <c:pt idx="9">
                  <c:v>125.43683309076</c:v>
                </c:pt>
                <c:pt idx="10">
                  <c:v>133.644390122305</c:v>
                </c:pt>
                <c:pt idx="11">
                  <c:v>135.835189488666</c:v>
                </c:pt>
                <c:pt idx="12">
                  <c:v>139.908411801127</c:v>
                </c:pt>
                <c:pt idx="13">
                  <c:v>143.475044427111</c:v>
                </c:pt>
                <c:pt idx="14">
                  <c:v>136.880935341466</c:v>
                </c:pt>
                <c:pt idx="15">
                  <c:v>130.567460859916</c:v>
                </c:pt>
                <c:pt idx="16">
                  <c:v>138.150223944806</c:v>
                </c:pt>
                <c:pt idx="17">
                  <c:v>135.173808509099</c:v>
                </c:pt>
                <c:pt idx="18">
                  <c:v>132.93476250593</c:v>
                </c:pt>
                <c:pt idx="19">
                  <c:v>140.992754963373</c:v>
                </c:pt>
                <c:pt idx="20">
                  <c:v>148.829617002115</c:v>
                </c:pt>
                <c:pt idx="21">
                  <c:v>137.558398533302</c:v>
                </c:pt>
                <c:pt idx="22">
                  <c:v>135.766438031216</c:v>
                </c:pt>
                <c:pt idx="23">
                  <c:v>139.189536912698</c:v>
                </c:pt>
                <c:pt idx="24">
                  <c:v>141.121010606219</c:v>
                </c:pt>
                <c:pt idx="25">
                  <c:v>140.131954551668</c:v>
                </c:pt>
                <c:pt idx="26">
                  <c:v>138.071421104687</c:v>
                </c:pt>
                <c:pt idx="27">
                  <c:v>150.742998206833</c:v>
                </c:pt>
                <c:pt idx="28">
                  <c:v>151.014385538875</c:v>
                </c:pt>
                <c:pt idx="29">
                  <c:v>155.013629674898</c:v>
                </c:pt>
                <c:pt idx="30">
                  <c:v>152.954704449144</c:v>
                </c:pt>
                <c:pt idx="31">
                  <c:v>141.946832206238</c:v>
                </c:pt>
                <c:pt idx="32">
                  <c:v>135.077717290791</c:v>
                </c:pt>
                <c:pt idx="33">
                  <c:v>143.53052805944</c:v>
                </c:pt>
                <c:pt idx="34">
                  <c:v>149.700870851794</c:v>
                </c:pt>
                <c:pt idx="35">
                  <c:v>151.266072160886</c:v>
                </c:pt>
                <c:pt idx="36">
                  <c:v>152.617782102106</c:v>
                </c:pt>
                <c:pt idx="37">
                  <c:v>151.301855083185</c:v>
                </c:pt>
                <c:pt idx="38">
                  <c:v>140.572607167842</c:v>
                </c:pt>
                <c:pt idx="39">
                  <c:v>103.631363530367</c:v>
                </c:pt>
                <c:pt idx="40">
                  <c:v>116.906425647912</c:v>
                </c:pt>
                <c:pt idx="41">
                  <c:v>111.816003409429</c:v>
                </c:pt>
                <c:pt idx="42">
                  <c:v>119.654875724705</c:v>
                </c:pt>
                <c:pt idx="43">
                  <c:v>126.2220471048</c:v>
                </c:pt>
                <c:pt idx="44">
                  <c:v>135.159334518056</c:v>
                </c:pt>
                <c:pt idx="45">
                  <c:v>127.469624721577</c:v>
                </c:pt>
                <c:pt idx="46">
                  <c:v>130.578718408504</c:v>
                </c:pt>
                <c:pt idx="47">
                  <c:v>147.905693907254</c:v>
                </c:pt>
                <c:pt idx="48">
                  <c:v>161.550244851682</c:v>
                </c:pt>
                <c:pt idx="49">
                  <c:v>160.534653146887</c:v>
                </c:pt>
                <c:pt idx="50">
                  <c:v>177.383584885937</c:v>
                </c:pt>
                <c:pt idx="51">
                  <c:v>175.218517059207</c:v>
                </c:pt>
                <c:pt idx="52">
                  <c:v>174.371386527931</c:v>
                </c:pt>
                <c:pt idx="53">
                  <c:v>188.580021067698</c:v>
                </c:pt>
                <c:pt idx="54">
                  <c:v>191.532313185002</c:v>
                </c:pt>
                <c:pt idx="55">
                  <c:v>195.556484750042</c:v>
                </c:pt>
                <c:pt idx="56">
                  <c:v>209.396836628847</c:v>
                </c:pt>
                <c:pt idx="57">
                  <c:v>218.034592838591</c:v>
                </c:pt>
                <c:pt idx="58">
                  <c:v>219.312726658679</c:v>
                </c:pt>
                <c:pt idx="59">
                  <c:v>211.549038685762</c:v>
                </c:pt>
                <c:pt idx="60">
                  <c:v>215.543860213411</c:v>
                </c:pt>
                <c:pt idx="61">
                  <c:v>220.108394110694</c:v>
                </c:pt>
                <c:pt idx="62">
                  <c:v>209.575751240341</c:v>
                </c:pt>
                <c:pt idx="63">
                  <c:v>220.965576024638</c:v>
                </c:pt>
                <c:pt idx="64">
                  <c:v>217.248574713938</c:v>
                </c:pt>
                <c:pt idx="65">
                  <c:v>212.73872033837</c:v>
                </c:pt>
                <c:pt idx="66">
                  <c:v>204.308826722204</c:v>
                </c:pt>
                <c:pt idx="67">
                  <c:v>225.427987874012</c:v>
                </c:pt>
                <c:pt idx="68">
                  <c:v>234.749238105194</c:v>
                </c:pt>
                <c:pt idx="69">
                  <c:v>230.359598266338</c:v>
                </c:pt>
                <c:pt idx="70">
                  <c:v>241.606693416746</c:v>
                </c:pt>
                <c:pt idx="71">
                  <c:v>249.304042264054</c:v>
                </c:pt>
                <c:pt idx="72">
                  <c:v>242.063830300496</c:v>
                </c:pt>
                <c:pt idx="73">
                  <c:v>238.539413481719</c:v>
                </c:pt>
                <c:pt idx="74">
                  <c:v>235.726232500543</c:v>
                </c:pt>
                <c:pt idx="75">
                  <c:v>237.434967554137</c:v>
                </c:pt>
                <c:pt idx="76">
                  <c:v>248.622156463843</c:v>
                </c:pt>
                <c:pt idx="77">
                  <c:v>260.011177137527</c:v>
                </c:pt>
                <c:pt idx="78">
                  <c:v>271.60926657071</c:v>
                </c:pt>
                <c:pt idx="79">
                  <c:v>284.698177081239</c:v>
                </c:pt>
                <c:pt idx="80">
                  <c:v>284.364069121348</c:v>
                </c:pt>
                <c:pt idx="81">
                  <c:v>290.575421554989</c:v>
                </c:pt>
                <c:pt idx="82">
                  <c:v>281.849615233072</c:v>
                </c:pt>
                <c:pt idx="83">
                  <c:v>297.391465169949</c:v>
                </c:pt>
                <c:pt idx="84">
                  <c:v>322.505849904713</c:v>
                </c:pt>
                <c:pt idx="85">
                  <c:v>327.73457916871</c:v>
                </c:pt>
                <c:pt idx="86">
                  <c:v>337.955227121043</c:v>
                </c:pt>
                <c:pt idx="87">
                  <c:v>346.70194031891</c:v>
                </c:pt>
                <c:pt idx="88">
                  <c:v>358.201526201944</c:v>
                </c:pt>
                <c:pt idx="89">
                  <c:v>359.630832817362</c:v>
                </c:pt>
                <c:pt idx="90">
                  <c:v>381.717741092465</c:v>
                </c:pt>
                <c:pt idx="91">
                  <c:v>398.18753467727</c:v>
                </c:pt>
                <c:pt idx="92">
                  <c:v>399.641366666399</c:v>
                </c:pt>
                <c:pt idx="93">
                  <c:v>407.875057292881</c:v>
                </c:pt>
                <c:pt idx="94">
                  <c:v>387.496482016066</c:v>
                </c:pt>
                <c:pt idx="95">
                  <c:v>388.866686501395</c:v>
                </c:pt>
                <c:pt idx="96">
                  <c:v>384.739588777832</c:v>
                </c:pt>
                <c:pt idx="97">
                  <c:v>373.417711340372</c:v>
                </c:pt>
                <c:pt idx="98">
                  <c:v>349.47531782472</c:v>
                </c:pt>
                <c:pt idx="99">
                  <c:v>373.389567468901</c:v>
                </c:pt>
                <c:pt idx="100">
                  <c:v>385.228085975507</c:v>
                </c:pt>
                <c:pt idx="101">
                  <c:v>398.682464759852</c:v>
                </c:pt>
              </c:numCache>
            </c:numRef>
          </c:val>
          <c:smooth val="0"/>
        </c:ser>
        <c:ser>
          <c:idx val="1"/>
          <c:order val="1"/>
          <c:tx>
            <c:strRef>
              <c:f>Sheet1!$C$1</c:f>
              <c:strCache>
                <c:ptCount val="1"/>
                <c:pt idx="0">
                  <c:v>BSE 100 TRI</c:v>
                </c:pt>
              </c:strCache>
            </c:strRef>
          </c:tx>
          <c:spPr>
            <a:ln w="12700" cap="rnd">
              <a:solidFill>
                <a:srgbClr val="C00000"/>
              </a:solidFill>
              <a:round/>
            </a:ln>
            <a:effectLst/>
          </c:spPr>
          <c:marker>
            <c:symbol val="none"/>
          </c:marker>
          <c:dLbls>
            <c:delete val="1"/>
          </c:dLbls>
          <c:cat>
            <c:numRef>
              <c:f>Sheet1!$A$2:$A$103</c:f>
              <c:numCache>
                <c:formatCode>mmm/yy</c:formatCode>
                <c:ptCount val="102"/>
                <c:pt idx="0" c:formatCode="mmm/yy">
                  <c:v>42735</c:v>
                </c:pt>
                <c:pt idx="1" c:formatCode="mmm/yy">
                  <c:v>42766</c:v>
                </c:pt>
                <c:pt idx="2" c:formatCode="mmm/yy">
                  <c:v>42794</c:v>
                </c:pt>
                <c:pt idx="3" c:formatCode="mmm/yy">
                  <c:v>42825</c:v>
                </c:pt>
                <c:pt idx="4" c:formatCode="mmm/yy">
                  <c:v>42855</c:v>
                </c:pt>
                <c:pt idx="5" c:formatCode="mmm/yy">
                  <c:v>42886</c:v>
                </c:pt>
                <c:pt idx="6" c:formatCode="mmm/yy">
                  <c:v>42916</c:v>
                </c:pt>
                <c:pt idx="7" c:formatCode="mmm/yy">
                  <c:v>42947</c:v>
                </c:pt>
                <c:pt idx="8" c:formatCode="mmm/yy">
                  <c:v>42978</c:v>
                </c:pt>
                <c:pt idx="9" c:formatCode="mmm/yy">
                  <c:v>43008</c:v>
                </c:pt>
                <c:pt idx="10" c:formatCode="mmm/yy">
                  <c:v>43039</c:v>
                </c:pt>
                <c:pt idx="11" c:formatCode="mmm/yy">
                  <c:v>43069</c:v>
                </c:pt>
                <c:pt idx="12" c:formatCode="mmm/yy">
                  <c:v>43100</c:v>
                </c:pt>
                <c:pt idx="13" c:formatCode="mmm/yy">
                  <c:v>43131</c:v>
                </c:pt>
                <c:pt idx="14" c:formatCode="mmm/yy">
                  <c:v>43159</c:v>
                </c:pt>
                <c:pt idx="15" c:formatCode="mmm/yy">
                  <c:v>43190</c:v>
                </c:pt>
                <c:pt idx="16" c:formatCode="mmm/yy">
                  <c:v>43220</c:v>
                </c:pt>
                <c:pt idx="17" c:formatCode="mmm/yy">
                  <c:v>43251</c:v>
                </c:pt>
                <c:pt idx="18" c:formatCode="mmm/yy">
                  <c:v>43281</c:v>
                </c:pt>
                <c:pt idx="19" c:formatCode="mmm/yy">
                  <c:v>43312</c:v>
                </c:pt>
                <c:pt idx="20" c:formatCode="mmm/yy">
                  <c:v>43343</c:v>
                </c:pt>
                <c:pt idx="21" c:formatCode="mmm/yy">
                  <c:v>43373</c:v>
                </c:pt>
                <c:pt idx="22" c:formatCode="mmm/yy">
                  <c:v>43404</c:v>
                </c:pt>
                <c:pt idx="23" c:formatCode="mmm/yy">
                  <c:v>43434</c:v>
                </c:pt>
                <c:pt idx="24" c:formatCode="mmm/yy">
                  <c:v>43465</c:v>
                </c:pt>
                <c:pt idx="25" c:formatCode="mmm/yy">
                  <c:v>43496</c:v>
                </c:pt>
                <c:pt idx="26" c:formatCode="mmm/yy">
                  <c:v>43524</c:v>
                </c:pt>
                <c:pt idx="27" c:formatCode="mmm/yy">
                  <c:v>43555</c:v>
                </c:pt>
                <c:pt idx="28" c:formatCode="mmm/yy">
                  <c:v>43585</c:v>
                </c:pt>
                <c:pt idx="29" c:formatCode="mmm/yy">
                  <c:v>43616</c:v>
                </c:pt>
                <c:pt idx="30" c:formatCode="mmm/yy">
                  <c:v>43646</c:v>
                </c:pt>
                <c:pt idx="31" c:formatCode="mmm/yy">
                  <c:v>43677</c:v>
                </c:pt>
                <c:pt idx="32" c:formatCode="mmm/yy">
                  <c:v>43708</c:v>
                </c:pt>
                <c:pt idx="33" c:formatCode="mmm/yy">
                  <c:v>43738</c:v>
                </c:pt>
                <c:pt idx="34" c:formatCode="mmm/yy">
                  <c:v>43769</c:v>
                </c:pt>
                <c:pt idx="35" c:formatCode="mmm/yy">
                  <c:v>43799</c:v>
                </c:pt>
                <c:pt idx="36" c:formatCode="mmm/yy">
                  <c:v>43830</c:v>
                </c:pt>
                <c:pt idx="37" c:formatCode="mmm/yy">
                  <c:v>43861</c:v>
                </c:pt>
                <c:pt idx="38" c:formatCode="mmm/yy">
                  <c:v>43890</c:v>
                </c:pt>
                <c:pt idx="39" c:formatCode="mmm/yy">
                  <c:v>43921</c:v>
                </c:pt>
                <c:pt idx="40" c:formatCode="mmm/yy">
                  <c:v>43951</c:v>
                </c:pt>
                <c:pt idx="41" c:formatCode="mmm/yy">
                  <c:v>43982</c:v>
                </c:pt>
                <c:pt idx="42" c:formatCode="mmm/yy">
                  <c:v>44012</c:v>
                </c:pt>
                <c:pt idx="43" c:formatCode="mmm/yy">
                  <c:v>44043</c:v>
                </c:pt>
                <c:pt idx="44" c:formatCode="mmm/yy">
                  <c:v>44074</c:v>
                </c:pt>
                <c:pt idx="45" c:formatCode="mmm/yy">
                  <c:v>44104</c:v>
                </c:pt>
                <c:pt idx="46" c:formatCode="mmm/yy">
                  <c:v>44135</c:v>
                </c:pt>
                <c:pt idx="47" c:formatCode="mmm/yy">
                  <c:v>44165</c:v>
                </c:pt>
                <c:pt idx="48" c:formatCode="mmm/yy">
                  <c:v>44196</c:v>
                </c:pt>
                <c:pt idx="49" c:formatCode="mmm/yy">
                  <c:v>44227</c:v>
                </c:pt>
                <c:pt idx="50" c:formatCode="mmm/yy">
                  <c:v>44255</c:v>
                </c:pt>
                <c:pt idx="51" c:formatCode="mmm/yy">
                  <c:v>44286</c:v>
                </c:pt>
                <c:pt idx="52" c:formatCode="mmm/yy">
                  <c:v>44316</c:v>
                </c:pt>
                <c:pt idx="53" c:formatCode="mmm/yy">
                  <c:v>44347</c:v>
                </c:pt>
                <c:pt idx="54" c:formatCode="mmm/yy">
                  <c:v>44377</c:v>
                </c:pt>
                <c:pt idx="55" c:formatCode="mmm/yy">
                  <c:v>44408</c:v>
                </c:pt>
                <c:pt idx="56" c:formatCode="mmm/yy">
                  <c:v>44439</c:v>
                </c:pt>
                <c:pt idx="57" c:formatCode="mmm/yy">
                  <c:v>44469</c:v>
                </c:pt>
                <c:pt idx="58" c:formatCode="mmm/yy">
                  <c:v>44500</c:v>
                </c:pt>
                <c:pt idx="59" c:formatCode="mmm/yy">
                  <c:v>44530</c:v>
                </c:pt>
                <c:pt idx="60" c:formatCode="mmm/yy">
                  <c:v>44561</c:v>
                </c:pt>
                <c:pt idx="61" c:formatCode="mmm/yy">
                  <c:v>44592</c:v>
                </c:pt>
                <c:pt idx="62" c:formatCode="mmm/yy">
                  <c:v>44620</c:v>
                </c:pt>
                <c:pt idx="63" c:formatCode="mmm/yy">
                  <c:v>44651</c:v>
                </c:pt>
                <c:pt idx="64" c:formatCode="mmm/yy">
                  <c:v>44681</c:v>
                </c:pt>
                <c:pt idx="65" c:formatCode="mmm/yy">
                  <c:v>44712</c:v>
                </c:pt>
                <c:pt idx="66" c:formatCode="mmm/yy">
                  <c:v>44742</c:v>
                </c:pt>
                <c:pt idx="67" c:formatCode="mmm/yy">
                  <c:v>44773</c:v>
                </c:pt>
                <c:pt idx="68" c:formatCode="mmm/yy">
                  <c:v>44804</c:v>
                </c:pt>
                <c:pt idx="69" c:formatCode="mmm/yy">
                  <c:v>44834</c:v>
                </c:pt>
                <c:pt idx="70" c:formatCode="mmm/yy">
                  <c:v>44865</c:v>
                </c:pt>
                <c:pt idx="71" c:formatCode="mmm/yy">
                  <c:v>44895</c:v>
                </c:pt>
                <c:pt idx="72" c:formatCode="mmm/yy">
                  <c:v>44926</c:v>
                </c:pt>
                <c:pt idx="73" c:formatCode="mmm/yy">
                  <c:v>44957</c:v>
                </c:pt>
                <c:pt idx="74" c:formatCode="mmm/yy">
                  <c:v>44985</c:v>
                </c:pt>
                <c:pt idx="75" c:formatCode="mmm/yy">
                  <c:v>45016</c:v>
                </c:pt>
                <c:pt idx="76" c:formatCode="mmm/yy">
                  <c:v>45046</c:v>
                </c:pt>
                <c:pt idx="77" c:formatCode="mmm/yy">
                  <c:v>45077</c:v>
                </c:pt>
                <c:pt idx="78" c:formatCode="mmm/yy">
                  <c:v>45107</c:v>
                </c:pt>
                <c:pt idx="79" c:formatCode="mmm/yy">
                  <c:v>45138</c:v>
                </c:pt>
                <c:pt idx="80" c:formatCode="mmm/yy">
                  <c:v>45169</c:v>
                </c:pt>
                <c:pt idx="81" c:formatCode="mmm/yy">
                  <c:v>45199</c:v>
                </c:pt>
                <c:pt idx="82" c:formatCode="mmm/yy">
                  <c:v>45230</c:v>
                </c:pt>
                <c:pt idx="83" c:formatCode="mmm/yy">
                  <c:v>45260</c:v>
                </c:pt>
                <c:pt idx="84" c:formatCode="mmm/yy">
                  <c:v>45291</c:v>
                </c:pt>
                <c:pt idx="85" c:formatCode="mmm/yy">
                  <c:v>45322</c:v>
                </c:pt>
                <c:pt idx="86" c:formatCode="mmm/yy">
                  <c:v>45351</c:v>
                </c:pt>
                <c:pt idx="87" c:formatCode="mmm/yy">
                  <c:v>45382</c:v>
                </c:pt>
                <c:pt idx="88" c:formatCode="mmm/yy">
                  <c:v>45412</c:v>
                </c:pt>
                <c:pt idx="89" c:formatCode="mmm/yy">
                  <c:v>45443</c:v>
                </c:pt>
                <c:pt idx="90" c:formatCode="mmm/yy">
                  <c:v>45473</c:v>
                </c:pt>
                <c:pt idx="91" c:formatCode="mmm/yy">
                  <c:v>45504</c:v>
                </c:pt>
                <c:pt idx="92" c:formatCode="mmm/yy">
                  <c:v>45535</c:v>
                </c:pt>
                <c:pt idx="93" c:formatCode="mmm/yy">
                  <c:v>45565</c:v>
                </c:pt>
                <c:pt idx="94" c:formatCode="mmm/yy">
                  <c:v>45596</c:v>
                </c:pt>
                <c:pt idx="95" c:formatCode="mmm/yy">
                  <c:v>45626</c:v>
                </c:pt>
                <c:pt idx="96" c:formatCode="mmm/yy">
                  <c:v>45657</c:v>
                </c:pt>
                <c:pt idx="97" c:formatCode="mmm/yy">
                  <c:v>45688</c:v>
                </c:pt>
                <c:pt idx="98" c:formatCode="mmm/yy">
                  <c:v>45716</c:v>
                </c:pt>
                <c:pt idx="99" c:formatCode="mmm/yy">
                  <c:v>45747</c:v>
                </c:pt>
                <c:pt idx="100" c:formatCode="mmm/yy">
                  <c:v>45777</c:v>
                </c:pt>
                <c:pt idx="101" c:formatCode="mmm/yy">
                  <c:v>45808</c:v>
                </c:pt>
              </c:numCache>
            </c:numRef>
          </c:cat>
          <c:val>
            <c:numRef>
              <c:f>Sheet1!$C$2:$C$103</c:f>
              <c:numCache>
                <c:formatCode>#,##0.0</c:formatCode>
                <c:ptCount val="102"/>
                <c:pt idx="0">
                  <c:v>100</c:v>
                </c:pt>
                <c:pt idx="1">
                  <c:v>105.317641926206</c:v>
                </c:pt>
                <c:pt idx="2">
                  <c:v>109.761569235551</c:v>
                </c:pt>
                <c:pt idx="3">
                  <c:v>113.592624490712</c:v>
                </c:pt>
                <c:pt idx="4">
                  <c:v>115.750679619927</c:v>
                </c:pt>
                <c:pt idx="5">
                  <c:v>118.90889050514</c:v>
                </c:pt>
                <c:pt idx="6">
                  <c:v>118.400749826006</c:v>
                </c:pt>
                <c:pt idx="7">
                  <c:v>125.687901975086</c:v>
                </c:pt>
                <c:pt idx="8">
                  <c:v>124.39529825262</c:v>
                </c:pt>
                <c:pt idx="9">
                  <c:v>122.757864832349</c:v>
                </c:pt>
                <c:pt idx="10">
                  <c:v>130.130942379748</c:v>
                </c:pt>
                <c:pt idx="11">
                  <c:v>129.350516228922</c:v>
                </c:pt>
                <c:pt idx="12">
                  <c:v>133.274351425531</c:v>
                </c:pt>
                <c:pt idx="13">
                  <c:v>138.018242886034</c:v>
                </c:pt>
                <c:pt idx="14">
                  <c:v>131.53245706159</c:v>
                </c:pt>
                <c:pt idx="15">
                  <c:v>127.362004498068</c:v>
                </c:pt>
                <c:pt idx="16">
                  <c:v>135.253545083885</c:v>
                </c:pt>
                <c:pt idx="17">
                  <c:v>134.153881243005</c:v>
                </c:pt>
                <c:pt idx="18">
                  <c:v>133.722139878773</c:v>
                </c:pt>
                <c:pt idx="19">
                  <c:v>141.820940416674</c:v>
                </c:pt>
                <c:pt idx="20">
                  <c:v>146.80743571861</c:v>
                </c:pt>
                <c:pt idx="21">
                  <c:v>136.182032513566</c:v>
                </c:pt>
                <c:pt idx="22">
                  <c:v>130.444943450097</c:v>
                </c:pt>
                <c:pt idx="23">
                  <c:v>136.187871602041</c:v>
                </c:pt>
                <c:pt idx="24">
                  <c:v>136.771622043088</c:v>
                </c:pt>
                <c:pt idx="25">
                  <c:v>135.486868521549</c:v>
                </c:pt>
                <c:pt idx="26">
                  <c:v>134.84688701336</c:v>
                </c:pt>
                <c:pt idx="27">
                  <c:v>145.064952660899</c:v>
                </c:pt>
                <c:pt idx="28">
                  <c:v>145.793185229238</c:v>
                </c:pt>
                <c:pt idx="29">
                  <c:v>148.136502077608</c:v>
                </c:pt>
                <c:pt idx="30">
                  <c:v>146.808611985878</c:v>
                </c:pt>
                <c:pt idx="31">
                  <c:v>138.571677720781</c:v>
                </c:pt>
                <c:pt idx="32">
                  <c:v>137.952845576342</c:v>
                </c:pt>
                <c:pt idx="33">
                  <c:v>143.422712146634</c:v>
                </c:pt>
                <c:pt idx="34">
                  <c:v>148.726815540298</c:v>
                </c:pt>
                <c:pt idx="35">
                  <c:v>150.533138530385</c:v>
                </c:pt>
                <c:pt idx="36">
                  <c:v>151.70263688146</c:v>
                </c:pt>
                <c:pt idx="37">
                  <c:v>149.826354668771</c:v>
                </c:pt>
                <c:pt idx="38">
                  <c:v>140.146673665486</c:v>
                </c:pt>
                <c:pt idx="39">
                  <c:v>107.984646125989</c:v>
                </c:pt>
                <c:pt idx="40">
                  <c:v>123.972022982841</c:v>
                </c:pt>
                <c:pt idx="41">
                  <c:v>120.919363804983</c:v>
                </c:pt>
                <c:pt idx="42">
                  <c:v>129.874043675201</c:v>
                </c:pt>
                <c:pt idx="43">
                  <c:v>139.702620150468</c:v>
                </c:pt>
                <c:pt idx="44">
                  <c:v>143.905733012068</c:v>
                </c:pt>
                <c:pt idx="45">
                  <c:v>142.835353802295</c:v>
                </c:pt>
                <c:pt idx="46">
                  <c:v>147.213254837164</c:v>
                </c:pt>
                <c:pt idx="47">
                  <c:v>164.025186970672</c:v>
                </c:pt>
                <c:pt idx="48">
                  <c:v>177.253809532215</c:v>
                </c:pt>
                <c:pt idx="49">
                  <c:v>173.492461965679</c:v>
                </c:pt>
                <c:pt idx="50">
                  <c:v>185.421045430109</c:v>
                </c:pt>
                <c:pt idx="51">
                  <c:v>187.327900486379</c:v>
                </c:pt>
                <c:pt idx="52">
                  <c:v>187.001013316208</c:v>
                </c:pt>
                <c:pt idx="53">
                  <c:v>199.754960704833</c:v>
                </c:pt>
                <c:pt idx="54">
                  <c:v>202.553934026836</c:v>
                </c:pt>
                <c:pt idx="55">
                  <c:v>204.172057022928</c:v>
                </c:pt>
                <c:pt idx="56">
                  <c:v>220.347601194857</c:v>
                </c:pt>
                <c:pt idx="57">
                  <c:v>226.998003572637</c:v>
                </c:pt>
                <c:pt idx="58">
                  <c:v>227.746069471651</c:v>
                </c:pt>
                <c:pt idx="59">
                  <c:v>220.235843014854</c:v>
                </c:pt>
                <c:pt idx="60">
                  <c:v>224.279590961297</c:v>
                </c:pt>
                <c:pt idx="61">
                  <c:v>224.235233687011</c:v>
                </c:pt>
                <c:pt idx="62">
                  <c:v>217.255910041446</c:v>
                </c:pt>
                <c:pt idx="63">
                  <c:v>226.021096221869</c:v>
                </c:pt>
                <c:pt idx="64">
                  <c:v>224.201453695448</c:v>
                </c:pt>
                <c:pt idx="65">
                  <c:v>216.311180272334</c:v>
                </c:pt>
                <c:pt idx="66">
                  <c:v>205.391221859808</c:v>
                </c:pt>
                <c:pt idx="67">
                  <c:v>225.27922866369</c:v>
                </c:pt>
                <c:pt idx="68">
                  <c:v>234.638020071454</c:v>
                </c:pt>
                <c:pt idx="69">
                  <c:v>226.321937534469</c:v>
                </c:pt>
                <c:pt idx="70">
                  <c:v>237.251949883616</c:v>
                </c:pt>
                <c:pt idx="71">
                  <c:v>246.284124696995</c:v>
                </c:pt>
                <c:pt idx="72">
                  <c:v>237.810499894069</c:v>
                </c:pt>
                <c:pt idx="73">
                  <c:v>231.557975259669</c:v>
                </c:pt>
                <c:pt idx="74">
                  <c:v>226.807585194561</c:v>
                </c:pt>
                <c:pt idx="75">
                  <c:v>227.671809942712</c:v>
                </c:pt>
                <c:pt idx="76">
                  <c:v>237.167598036711</c:v>
                </c:pt>
                <c:pt idx="77">
                  <c:v>245.492376144923</c:v>
                </c:pt>
                <c:pt idx="78">
                  <c:v>254.63476790663</c:v>
                </c:pt>
                <c:pt idx="79">
                  <c:v>262.514249254959</c:v>
                </c:pt>
                <c:pt idx="80">
                  <c:v>258.042041686014</c:v>
                </c:pt>
                <c:pt idx="81">
                  <c:v>262.734940666929</c:v>
                </c:pt>
                <c:pt idx="82">
                  <c:v>255.581226429502</c:v>
                </c:pt>
                <c:pt idx="83">
                  <c:v>271.152239535235</c:v>
                </c:pt>
                <c:pt idx="84">
                  <c:v>293.044621112633</c:v>
                </c:pt>
                <c:pt idx="85">
                  <c:v>294.737552522755</c:v>
                </c:pt>
                <c:pt idx="86">
                  <c:v>300.564899719827</c:v>
                </c:pt>
                <c:pt idx="87">
                  <c:v>305.489049617686</c:v>
                </c:pt>
                <c:pt idx="88">
                  <c:v>311.615267787631</c:v>
                </c:pt>
                <c:pt idx="89">
                  <c:v>312.652311493317</c:v>
                </c:pt>
                <c:pt idx="90">
                  <c:v>334.695733926922</c:v>
                </c:pt>
                <c:pt idx="91">
                  <c:v>348.805416035506</c:v>
                </c:pt>
                <c:pt idx="92">
                  <c:v>353.335500996352</c:v>
                </c:pt>
                <c:pt idx="93">
                  <c:v>361.519650560788</c:v>
                </c:pt>
                <c:pt idx="94">
                  <c:v>337.865577343302</c:v>
                </c:pt>
                <c:pt idx="95">
                  <c:v>338.451374656109</c:v>
                </c:pt>
                <c:pt idx="96">
                  <c:v>332.063155884717</c:v>
                </c:pt>
                <c:pt idx="97">
                  <c:v>326.503719612428</c:v>
                </c:pt>
                <c:pt idx="98">
                  <c:v>305.047547607946</c:v>
                </c:pt>
                <c:pt idx="99">
                  <c:v>326.325604452718</c:v>
                </c:pt>
                <c:pt idx="100">
                  <c:v>338.350064201184</c:v>
                </c:pt>
                <c:pt idx="101">
                  <c:v>346.470465742012</c:v>
                </c:pt>
              </c:numCache>
            </c:numRef>
          </c:val>
          <c:smooth val="0"/>
        </c:ser>
        <c:dLbls>
          <c:showLegendKey val="0"/>
          <c:showVal val="0"/>
          <c:showCatName val="0"/>
          <c:showSerName val="0"/>
          <c:showPercent val="0"/>
          <c:showBubbleSize val="0"/>
        </c:dLbls>
        <c:marker val="0"/>
        <c:smooth val="0"/>
        <c:axId val="1172110303"/>
        <c:axId val="1301341519"/>
      </c:lineChart>
      <c:dateAx>
        <c:axId val="1172110303"/>
        <c:scaling>
          <c:orientation val="minMax"/>
          <c:max val="45808"/>
          <c:min val="42705"/>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GB"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crossAx val="1301341519"/>
        <c:crosses val="autoZero"/>
        <c:auto val="1"/>
        <c:lblOffset val="100"/>
        <c:baseTimeUnit val="months"/>
        <c:majorUnit val="9"/>
        <c:majorTimeUnit val="months"/>
      </c:dateAx>
      <c:valAx>
        <c:axId val="1301341519"/>
        <c:scaling>
          <c:orientation val="minMax"/>
          <c:min val="100"/>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lang="en-GB"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crossAx val="1172110303"/>
        <c:crosses val="autoZero"/>
        <c:crossBetween val="midCat"/>
        <c:majorUnit val="75"/>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en-GB" sz="9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legend>
    <c:plotVisOnly val="1"/>
    <c:dispBlanksAs val="gap"/>
    <c:showDLblsOverMax val="0"/>
    <c:extLst>
      <c:ext uri="{0b15fc19-7d7d-44ad-8c2d-2c3a37ce22c3}">
        <chartProps xmlns="https://web.wps.cn/et/2018/main" chartId="{20220ae3-a872-40b8-b91d-1fbab4801937}"/>
      </c:ext>
    </c:extLst>
  </c:chart>
  <c:spPr>
    <a:noFill/>
    <a:ln>
      <a:noFill/>
    </a:ln>
    <a:effectLst/>
  </c:spPr>
  <c:txPr>
    <a:bodyPr/>
    <a:lstStyle/>
    <a:p>
      <a:pPr>
        <a:defRPr lang="en-GB" sz="900">
          <a:latin typeface="Calibri" panose="020F0502020204030204" pitchFamily="34" charset="0"/>
          <a:cs typeface="Calibri" panose="020F0502020204030204" pitchFamily="34" charset="0"/>
        </a:defRPr>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GB" sz="10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GB" dirty="0"/>
              <a:t>SBI Sensex ETF vs BSE Sensex TRI</a:t>
            </a:r>
            <a:endParaRPr lang="en-GB" dirty="0"/>
          </a:p>
        </c:rich>
      </c:tx>
      <c:layout/>
      <c:overlay val="0"/>
      <c:spPr>
        <a:noFill/>
        <a:ln>
          <a:noFill/>
        </a:ln>
        <a:effectLst/>
      </c:spPr>
    </c:title>
    <c:autoTitleDeleted val="0"/>
    <c:plotArea>
      <c:layout>
        <c:manualLayout>
          <c:layoutTarget val="inner"/>
          <c:xMode val="edge"/>
          <c:yMode val="edge"/>
          <c:x val="0.108040970632176"/>
          <c:y val="0.150720988369987"/>
          <c:w val="0.837005457531139"/>
          <c:h val="0.510346545415021"/>
        </c:manualLayout>
      </c:layout>
      <c:lineChart>
        <c:grouping val="standard"/>
        <c:varyColors val="0"/>
        <c:ser>
          <c:idx val="0"/>
          <c:order val="0"/>
          <c:tx>
            <c:strRef>
              <c:f>Sheet1!$B$1</c:f>
              <c:strCache>
                <c:ptCount val="1"/>
                <c:pt idx="0">
                  <c:v>SBI Sensex ETF</c:v>
                </c:pt>
              </c:strCache>
            </c:strRef>
          </c:tx>
          <c:spPr>
            <a:ln w="12700" cap="rnd">
              <a:solidFill>
                <a:srgbClr val="00A290"/>
              </a:solidFill>
              <a:round/>
            </a:ln>
            <a:effectLst/>
          </c:spPr>
          <c:marker>
            <c:symbol val="none"/>
          </c:marker>
          <c:dLbls>
            <c:delete val="1"/>
          </c:dLbls>
          <c:cat>
            <c:numRef>
              <c:f>Sheet1!$A$2:$A$103</c:f>
              <c:numCache>
                <c:formatCode>mmm/yy</c:formatCode>
                <c:ptCount val="102"/>
                <c:pt idx="0" c:formatCode="mmm/yy">
                  <c:v>42735</c:v>
                </c:pt>
                <c:pt idx="1" c:formatCode="mmm/yy">
                  <c:v>42766</c:v>
                </c:pt>
                <c:pt idx="2" c:formatCode="mmm/yy">
                  <c:v>42794</c:v>
                </c:pt>
                <c:pt idx="3" c:formatCode="mmm/yy">
                  <c:v>42825</c:v>
                </c:pt>
                <c:pt idx="4" c:formatCode="mmm/yy">
                  <c:v>42855</c:v>
                </c:pt>
                <c:pt idx="5" c:formatCode="mmm/yy">
                  <c:v>42886</c:v>
                </c:pt>
                <c:pt idx="6" c:formatCode="mmm/yy">
                  <c:v>42916</c:v>
                </c:pt>
                <c:pt idx="7" c:formatCode="mmm/yy">
                  <c:v>42947</c:v>
                </c:pt>
                <c:pt idx="8" c:formatCode="mmm/yy">
                  <c:v>42978</c:v>
                </c:pt>
                <c:pt idx="9" c:formatCode="mmm/yy">
                  <c:v>43008</c:v>
                </c:pt>
                <c:pt idx="10" c:formatCode="mmm/yy">
                  <c:v>43039</c:v>
                </c:pt>
                <c:pt idx="11" c:formatCode="mmm/yy">
                  <c:v>43069</c:v>
                </c:pt>
                <c:pt idx="12" c:formatCode="mmm/yy">
                  <c:v>43100</c:v>
                </c:pt>
                <c:pt idx="13" c:formatCode="mmm/yy">
                  <c:v>43131</c:v>
                </c:pt>
                <c:pt idx="14" c:formatCode="mmm/yy">
                  <c:v>43159</c:v>
                </c:pt>
                <c:pt idx="15" c:formatCode="mmm/yy">
                  <c:v>43190</c:v>
                </c:pt>
                <c:pt idx="16" c:formatCode="mmm/yy">
                  <c:v>43220</c:v>
                </c:pt>
                <c:pt idx="17" c:formatCode="mmm/yy">
                  <c:v>43251</c:v>
                </c:pt>
                <c:pt idx="18" c:formatCode="mmm/yy">
                  <c:v>43281</c:v>
                </c:pt>
                <c:pt idx="19" c:formatCode="mmm/yy">
                  <c:v>43312</c:v>
                </c:pt>
                <c:pt idx="20" c:formatCode="mmm/yy">
                  <c:v>43343</c:v>
                </c:pt>
                <c:pt idx="21" c:formatCode="mmm/yy">
                  <c:v>43373</c:v>
                </c:pt>
                <c:pt idx="22" c:formatCode="mmm/yy">
                  <c:v>43404</c:v>
                </c:pt>
                <c:pt idx="23" c:formatCode="mmm/yy">
                  <c:v>43434</c:v>
                </c:pt>
                <c:pt idx="24" c:formatCode="mmm/yy">
                  <c:v>43465</c:v>
                </c:pt>
                <c:pt idx="25" c:formatCode="mmm/yy">
                  <c:v>43496</c:v>
                </c:pt>
                <c:pt idx="26" c:formatCode="mmm/yy">
                  <c:v>43524</c:v>
                </c:pt>
                <c:pt idx="27" c:formatCode="mmm/yy">
                  <c:v>43555</c:v>
                </c:pt>
                <c:pt idx="28" c:formatCode="mmm/yy">
                  <c:v>43585</c:v>
                </c:pt>
                <c:pt idx="29" c:formatCode="mmm/yy">
                  <c:v>43616</c:v>
                </c:pt>
                <c:pt idx="30" c:formatCode="mmm/yy">
                  <c:v>43646</c:v>
                </c:pt>
                <c:pt idx="31" c:formatCode="mmm/yy">
                  <c:v>43677</c:v>
                </c:pt>
                <c:pt idx="32" c:formatCode="mmm/yy">
                  <c:v>43708</c:v>
                </c:pt>
                <c:pt idx="33" c:formatCode="mmm/yy">
                  <c:v>43738</c:v>
                </c:pt>
                <c:pt idx="34" c:formatCode="mmm/yy">
                  <c:v>43769</c:v>
                </c:pt>
                <c:pt idx="35" c:formatCode="mmm/yy">
                  <c:v>43799</c:v>
                </c:pt>
                <c:pt idx="36" c:formatCode="mmm/yy">
                  <c:v>43830</c:v>
                </c:pt>
                <c:pt idx="37" c:formatCode="mmm/yy">
                  <c:v>43861</c:v>
                </c:pt>
                <c:pt idx="38" c:formatCode="mmm/yy">
                  <c:v>43890</c:v>
                </c:pt>
                <c:pt idx="39" c:formatCode="mmm/yy">
                  <c:v>43921</c:v>
                </c:pt>
                <c:pt idx="40" c:formatCode="mmm/yy">
                  <c:v>43951</c:v>
                </c:pt>
                <c:pt idx="41" c:formatCode="mmm/yy">
                  <c:v>43982</c:v>
                </c:pt>
                <c:pt idx="42" c:formatCode="mmm/yy">
                  <c:v>44012</c:v>
                </c:pt>
                <c:pt idx="43" c:formatCode="mmm/yy">
                  <c:v>44043</c:v>
                </c:pt>
                <c:pt idx="44" c:formatCode="mmm/yy">
                  <c:v>44074</c:v>
                </c:pt>
                <c:pt idx="45" c:formatCode="mmm/yy">
                  <c:v>44104</c:v>
                </c:pt>
                <c:pt idx="46" c:formatCode="mmm/yy">
                  <c:v>44135</c:v>
                </c:pt>
                <c:pt idx="47" c:formatCode="mmm/yy">
                  <c:v>44165</c:v>
                </c:pt>
                <c:pt idx="48" c:formatCode="mmm/yy">
                  <c:v>44196</c:v>
                </c:pt>
                <c:pt idx="49" c:formatCode="mmm/yy">
                  <c:v>44227</c:v>
                </c:pt>
                <c:pt idx="50" c:formatCode="mmm/yy">
                  <c:v>44255</c:v>
                </c:pt>
                <c:pt idx="51" c:formatCode="mmm/yy">
                  <c:v>44286</c:v>
                </c:pt>
                <c:pt idx="52" c:formatCode="mmm/yy">
                  <c:v>44316</c:v>
                </c:pt>
                <c:pt idx="53" c:formatCode="mmm/yy">
                  <c:v>44347</c:v>
                </c:pt>
                <c:pt idx="54" c:formatCode="mmm/yy">
                  <c:v>44377</c:v>
                </c:pt>
                <c:pt idx="55" c:formatCode="mmm/yy">
                  <c:v>44408</c:v>
                </c:pt>
                <c:pt idx="56" c:formatCode="mmm/yy">
                  <c:v>44439</c:v>
                </c:pt>
                <c:pt idx="57" c:formatCode="mmm/yy">
                  <c:v>44469</c:v>
                </c:pt>
                <c:pt idx="58" c:formatCode="mmm/yy">
                  <c:v>44500</c:v>
                </c:pt>
                <c:pt idx="59" c:formatCode="mmm/yy">
                  <c:v>44530</c:v>
                </c:pt>
                <c:pt idx="60" c:formatCode="mmm/yy">
                  <c:v>44561</c:v>
                </c:pt>
                <c:pt idx="61" c:formatCode="mmm/yy">
                  <c:v>44592</c:v>
                </c:pt>
                <c:pt idx="62" c:formatCode="mmm/yy">
                  <c:v>44620</c:v>
                </c:pt>
                <c:pt idx="63" c:formatCode="mmm/yy">
                  <c:v>44651</c:v>
                </c:pt>
                <c:pt idx="64" c:formatCode="mmm/yy">
                  <c:v>44681</c:v>
                </c:pt>
                <c:pt idx="65" c:formatCode="mmm/yy">
                  <c:v>44712</c:v>
                </c:pt>
                <c:pt idx="66" c:formatCode="mmm/yy">
                  <c:v>44742</c:v>
                </c:pt>
                <c:pt idx="67" c:formatCode="mmm/yy">
                  <c:v>44773</c:v>
                </c:pt>
                <c:pt idx="68" c:formatCode="mmm/yy">
                  <c:v>44804</c:v>
                </c:pt>
                <c:pt idx="69" c:formatCode="mmm/yy">
                  <c:v>44834</c:v>
                </c:pt>
                <c:pt idx="70" c:formatCode="mmm/yy">
                  <c:v>44865</c:v>
                </c:pt>
                <c:pt idx="71" c:formatCode="mmm/yy">
                  <c:v>44895</c:v>
                </c:pt>
                <c:pt idx="72" c:formatCode="mmm/yy">
                  <c:v>44926</c:v>
                </c:pt>
                <c:pt idx="73" c:formatCode="mmm/yy">
                  <c:v>44957</c:v>
                </c:pt>
                <c:pt idx="74" c:formatCode="mmm/yy">
                  <c:v>44985</c:v>
                </c:pt>
                <c:pt idx="75" c:formatCode="mmm/yy">
                  <c:v>45016</c:v>
                </c:pt>
                <c:pt idx="76" c:formatCode="mmm/yy">
                  <c:v>45046</c:v>
                </c:pt>
                <c:pt idx="77" c:formatCode="mmm/yy">
                  <c:v>45077</c:v>
                </c:pt>
                <c:pt idx="78" c:formatCode="mmm/yy">
                  <c:v>45107</c:v>
                </c:pt>
                <c:pt idx="79" c:formatCode="mmm/yy">
                  <c:v>45138</c:v>
                </c:pt>
                <c:pt idx="80" c:formatCode="mmm/yy">
                  <c:v>45169</c:v>
                </c:pt>
                <c:pt idx="81" c:formatCode="mmm/yy">
                  <c:v>45199</c:v>
                </c:pt>
                <c:pt idx="82" c:formatCode="mmm/yy">
                  <c:v>45230</c:v>
                </c:pt>
                <c:pt idx="83" c:formatCode="mmm/yy">
                  <c:v>45260</c:v>
                </c:pt>
                <c:pt idx="84" c:formatCode="mmm/yy">
                  <c:v>45291</c:v>
                </c:pt>
                <c:pt idx="85" c:formatCode="mmm/yy">
                  <c:v>45322</c:v>
                </c:pt>
                <c:pt idx="86" c:formatCode="mmm/yy">
                  <c:v>45351</c:v>
                </c:pt>
                <c:pt idx="87" c:formatCode="mmm/yy">
                  <c:v>45382</c:v>
                </c:pt>
                <c:pt idx="88" c:formatCode="mmm/yy">
                  <c:v>45412</c:v>
                </c:pt>
                <c:pt idx="89" c:formatCode="mmm/yy">
                  <c:v>45443</c:v>
                </c:pt>
                <c:pt idx="90" c:formatCode="mmm/yy">
                  <c:v>45473</c:v>
                </c:pt>
                <c:pt idx="91" c:formatCode="mmm/yy">
                  <c:v>45504</c:v>
                </c:pt>
                <c:pt idx="92" c:formatCode="mmm/yy">
                  <c:v>45535</c:v>
                </c:pt>
                <c:pt idx="93" c:formatCode="mmm/yy">
                  <c:v>45565</c:v>
                </c:pt>
                <c:pt idx="94" c:formatCode="mmm/yy">
                  <c:v>45596</c:v>
                </c:pt>
                <c:pt idx="95" c:formatCode="mmm/yy">
                  <c:v>45626</c:v>
                </c:pt>
                <c:pt idx="96" c:formatCode="mmm/yy">
                  <c:v>45657</c:v>
                </c:pt>
                <c:pt idx="97" c:formatCode="mmm/yy">
                  <c:v>45688</c:v>
                </c:pt>
                <c:pt idx="98" c:formatCode="mmm/yy">
                  <c:v>45716</c:v>
                </c:pt>
                <c:pt idx="99" c:formatCode="mmm/yy">
                  <c:v>45747</c:v>
                </c:pt>
                <c:pt idx="100" c:formatCode="mmm/yy">
                  <c:v>45777</c:v>
                </c:pt>
                <c:pt idx="101" c:formatCode="mmm/yy">
                  <c:v>45808</c:v>
                </c:pt>
              </c:numCache>
            </c:numRef>
          </c:cat>
          <c:val>
            <c:numRef>
              <c:f>Sheet1!$B$2:$B$103</c:f>
              <c:numCache>
                <c:formatCode>#,##0.0</c:formatCode>
                <c:ptCount val="102"/>
                <c:pt idx="0">
                  <c:v>100</c:v>
                </c:pt>
                <c:pt idx="1">
                  <c:v>103.874255292539</c:v>
                </c:pt>
                <c:pt idx="2">
                  <c:v>108.035059519749</c:v>
                </c:pt>
                <c:pt idx="3">
                  <c:v>111.47289504392</c:v>
                </c:pt>
                <c:pt idx="4">
                  <c:v>112.59019081333</c:v>
                </c:pt>
                <c:pt idx="5">
                  <c:v>117.234566040538</c:v>
                </c:pt>
                <c:pt idx="6">
                  <c:v>116.937751703652</c:v>
                </c:pt>
                <c:pt idx="7">
                  <c:v>123.269022345918</c:v>
                </c:pt>
                <c:pt idx="8">
                  <c:v>120.398868417082</c:v>
                </c:pt>
                <c:pt idx="9">
                  <c:v>118.775377933801</c:v>
                </c:pt>
                <c:pt idx="10">
                  <c:v>126.209930414534</c:v>
                </c:pt>
                <c:pt idx="11">
                  <c:v>126.014599994022</c:v>
                </c:pt>
                <c:pt idx="12">
                  <c:v>129.454317542977</c:v>
                </c:pt>
                <c:pt idx="13">
                  <c:v>136.726683090264</c:v>
                </c:pt>
                <c:pt idx="14">
                  <c:v>130.030450887207</c:v>
                </c:pt>
                <c:pt idx="15">
                  <c:v>125.534831131991</c:v>
                </c:pt>
                <c:pt idx="16">
                  <c:v>133.865063246858</c:v>
                </c:pt>
                <c:pt idx="17">
                  <c:v>134.802675122973</c:v>
                </c:pt>
                <c:pt idx="18">
                  <c:v>135.465844349821</c:v>
                </c:pt>
                <c:pt idx="19">
                  <c:v>144.049963396167</c:v>
                </c:pt>
                <c:pt idx="20">
                  <c:v>148.182615343153</c:v>
                </c:pt>
                <c:pt idx="21">
                  <c:v>138.982484304887</c:v>
                </c:pt>
                <c:pt idx="22">
                  <c:v>132.280953893616</c:v>
                </c:pt>
                <c:pt idx="23">
                  <c:v>139.140114782477</c:v>
                </c:pt>
                <c:pt idx="24">
                  <c:v>138.708774479783</c:v>
                </c:pt>
                <c:pt idx="25">
                  <c:v>139.441232231299</c:v>
                </c:pt>
                <c:pt idx="26">
                  <c:v>138.068689214088</c:v>
                </c:pt>
                <c:pt idx="27">
                  <c:v>148.985937191289</c:v>
                </c:pt>
                <c:pt idx="28">
                  <c:v>150.358516849708</c:v>
                </c:pt>
                <c:pt idx="29">
                  <c:v>153.172012019801</c:v>
                </c:pt>
                <c:pt idx="30">
                  <c:v>152.334797054099</c:v>
                </c:pt>
                <c:pt idx="31">
                  <c:v>145.330500339638</c:v>
                </c:pt>
                <c:pt idx="32">
                  <c:v>144.970976804976</c:v>
                </c:pt>
                <c:pt idx="33">
                  <c:v>150.141637538491</c:v>
                </c:pt>
                <c:pt idx="34">
                  <c:v>155.977336200471</c:v>
                </c:pt>
                <c:pt idx="35">
                  <c:v>158.553799394849</c:v>
                </c:pt>
                <c:pt idx="36">
                  <c:v>160.313273570439</c:v>
                </c:pt>
                <c:pt idx="37">
                  <c:v>158.271478885823</c:v>
                </c:pt>
                <c:pt idx="38">
                  <c:v>148.87901814582</c:v>
                </c:pt>
                <c:pt idx="39">
                  <c:v>114.878102144949</c:v>
                </c:pt>
                <c:pt idx="40">
                  <c:v>131.435274808824</c:v>
                </c:pt>
                <c:pt idx="41">
                  <c:v>126.508717804204</c:v>
                </c:pt>
                <c:pt idx="42">
                  <c:v>136.287999778961</c:v>
                </c:pt>
                <c:pt idx="43">
                  <c:v>147.355989686614</c:v>
                </c:pt>
                <c:pt idx="44">
                  <c:v>151.499230942764</c:v>
                </c:pt>
                <c:pt idx="45">
                  <c:v>149.332086684964</c:v>
                </c:pt>
                <c:pt idx="46">
                  <c:v>155.673910355533</c:v>
                </c:pt>
                <c:pt idx="47">
                  <c:v>173.454276472078</c:v>
                </c:pt>
                <c:pt idx="48">
                  <c:v>187.633654572327</c:v>
                </c:pt>
                <c:pt idx="49">
                  <c:v>181.903006254199</c:v>
                </c:pt>
                <c:pt idx="50">
                  <c:v>193.263576209168</c:v>
                </c:pt>
                <c:pt idx="51">
                  <c:v>194.931444789271</c:v>
                </c:pt>
                <c:pt idx="52">
                  <c:v>192.095926538813</c:v>
                </c:pt>
                <c:pt idx="53">
                  <c:v>204.910621954308</c:v>
                </c:pt>
                <c:pt idx="54">
                  <c:v>207.52221225233</c:v>
                </c:pt>
                <c:pt idx="55">
                  <c:v>208.253409403487</c:v>
                </c:pt>
                <c:pt idx="56">
                  <c:v>227.937184067953</c:v>
                </c:pt>
                <c:pt idx="57">
                  <c:v>234.244694880029</c:v>
                </c:pt>
                <c:pt idx="58">
                  <c:v>235.276681232118</c:v>
                </c:pt>
                <c:pt idx="59">
                  <c:v>226.364047898312</c:v>
                </c:pt>
                <c:pt idx="60">
                  <c:v>231.098798574253</c:v>
                </c:pt>
                <c:pt idx="61">
                  <c:v>230.200830563472</c:v>
                </c:pt>
                <c:pt idx="62">
                  <c:v>223.498221347322</c:v>
                </c:pt>
                <c:pt idx="63">
                  <c:v>232.717961244949</c:v>
                </c:pt>
                <c:pt idx="64">
                  <c:v>226.822395137986</c:v>
                </c:pt>
                <c:pt idx="65">
                  <c:v>221.879171486677</c:v>
                </c:pt>
                <c:pt idx="66">
                  <c:v>211.985429134056</c:v>
                </c:pt>
                <c:pt idx="67">
                  <c:v>230.451607308191</c:v>
                </c:pt>
                <c:pt idx="68">
                  <c:v>238.71031837619</c:v>
                </c:pt>
                <c:pt idx="69">
                  <c:v>230.237080193388</c:v>
                </c:pt>
                <c:pt idx="70">
                  <c:v>243.836143897698</c:v>
                </c:pt>
                <c:pt idx="71">
                  <c:v>253.419395384949</c:v>
                </c:pt>
                <c:pt idx="72">
                  <c:v>244.326566795378</c:v>
                </c:pt>
                <c:pt idx="73">
                  <c:v>239.205291279285</c:v>
                </c:pt>
                <c:pt idx="74">
                  <c:v>237.172604562753</c:v>
                </c:pt>
                <c:pt idx="75">
                  <c:v>237.275073692962</c:v>
                </c:pt>
                <c:pt idx="76">
                  <c:v>245.873606239748</c:v>
                </c:pt>
                <c:pt idx="77">
                  <c:v>252.871251344197</c:v>
                </c:pt>
                <c:pt idx="78">
                  <c:v>261.88056289223</c:v>
                </c:pt>
                <c:pt idx="79">
                  <c:v>269.511561229744</c:v>
                </c:pt>
                <c:pt idx="80">
                  <c:v>263.241728974903</c:v>
                </c:pt>
                <c:pt idx="81">
                  <c:v>267.270514347896</c:v>
                </c:pt>
                <c:pt idx="82">
                  <c:v>259.636996585896</c:v>
                </c:pt>
                <c:pt idx="83">
                  <c:v>272.49422065683</c:v>
                </c:pt>
                <c:pt idx="84">
                  <c:v>293.844142845292</c:v>
                </c:pt>
                <c:pt idx="85">
                  <c:v>291.931217475369</c:v>
                </c:pt>
                <c:pt idx="86">
                  <c:v>295.314268231818</c:v>
                </c:pt>
                <c:pt idx="87">
                  <c:v>299.988463861091</c:v>
                </c:pt>
                <c:pt idx="88" c:formatCode="#,##0.00">
                  <c:v>303.374945000118</c:v>
                </c:pt>
                <c:pt idx="89" c:formatCode="#,##0.00">
                  <c:v>302.379177463352</c:v>
                </c:pt>
                <c:pt idx="90" c:formatCode="#,##0.00">
                  <c:v>323.735871624524</c:v>
                </c:pt>
                <c:pt idx="91" c:formatCode="#,##0.00">
                  <c:v>335.104017111857</c:v>
                </c:pt>
                <c:pt idx="92" c:formatCode="#,##0.00">
                  <c:v>338.275135424454</c:v>
                </c:pt>
                <c:pt idx="93" c:formatCode="#,##0.00">
                  <c:v>346.208452382557</c:v>
                </c:pt>
                <c:pt idx="94" c:formatCode="#,##0.00">
                  <c:v>326.457683149996</c:v>
                </c:pt>
                <c:pt idx="95" c:formatCode="#,##0.00">
                  <c:v>328.292521462797</c:v>
                </c:pt>
                <c:pt idx="96" c:formatCode="#,##0.00">
                  <c:v>321.399759726827</c:v>
                </c:pt>
                <c:pt idx="97" c:formatCode="#,##0.00">
                  <c:v>318.879428257138</c:v>
                </c:pt>
                <c:pt idx="98" c:formatCode="#,##0.00">
                  <c:v>301.487065345681</c:v>
                </c:pt>
                <c:pt idx="99" c:formatCode="#,##0.00">
                  <c:v>318.839153391652</c:v>
                </c:pt>
                <c:pt idx="100" c:formatCode="#,##0.00">
                  <c:v>330.541119349127</c:v>
                </c:pt>
                <c:pt idx="101" c:formatCode="#,##0.00">
                  <c:v>336.304615386656</c:v>
                </c:pt>
              </c:numCache>
            </c:numRef>
          </c:val>
          <c:smooth val="0"/>
        </c:ser>
        <c:ser>
          <c:idx val="1"/>
          <c:order val="1"/>
          <c:tx>
            <c:strRef>
              <c:f>Sheet1!$C$1</c:f>
              <c:strCache>
                <c:ptCount val="1"/>
                <c:pt idx="0">
                  <c:v>BSE Sensex TRI</c:v>
                </c:pt>
              </c:strCache>
            </c:strRef>
          </c:tx>
          <c:spPr>
            <a:ln w="12700" cap="rnd">
              <a:solidFill>
                <a:srgbClr val="C00000"/>
              </a:solidFill>
              <a:round/>
            </a:ln>
            <a:effectLst/>
          </c:spPr>
          <c:marker>
            <c:symbol val="none"/>
          </c:marker>
          <c:dLbls>
            <c:delete val="1"/>
          </c:dLbls>
          <c:cat>
            <c:numRef>
              <c:f>Sheet1!$A$2:$A$103</c:f>
              <c:numCache>
                <c:formatCode>mmm/yy</c:formatCode>
                <c:ptCount val="102"/>
                <c:pt idx="0" c:formatCode="mmm/yy">
                  <c:v>42735</c:v>
                </c:pt>
                <c:pt idx="1" c:formatCode="mmm/yy">
                  <c:v>42766</c:v>
                </c:pt>
                <c:pt idx="2" c:formatCode="mmm/yy">
                  <c:v>42794</c:v>
                </c:pt>
                <c:pt idx="3" c:formatCode="mmm/yy">
                  <c:v>42825</c:v>
                </c:pt>
                <c:pt idx="4" c:formatCode="mmm/yy">
                  <c:v>42855</c:v>
                </c:pt>
                <c:pt idx="5" c:formatCode="mmm/yy">
                  <c:v>42886</c:v>
                </c:pt>
                <c:pt idx="6" c:formatCode="mmm/yy">
                  <c:v>42916</c:v>
                </c:pt>
                <c:pt idx="7" c:formatCode="mmm/yy">
                  <c:v>42947</c:v>
                </c:pt>
                <c:pt idx="8" c:formatCode="mmm/yy">
                  <c:v>42978</c:v>
                </c:pt>
                <c:pt idx="9" c:formatCode="mmm/yy">
                  <c:v>43008</c:v>
                </c:pt>
                <c:pt idx="10" c:formatCode="mmm/yy">
                  <c:v>43039</c:v>
                </c:pt>
                <c:pt idx="11" c:formatCode="mmm/yy">
                  <c:v>43069</c:v>
                </c:pt>
                <c:pt idx="12" c:formatCode="mmm/yy">
                  <c:v>43100</c:v>
                </c:pt>
                <c:pt idx="13" c:formatCode="mmm/yy">
                  <c:v>43131</c:v>
                </c:pt>
                <c:pt idx="14" c:formatCode="mmm/yy">
                  <c:v>43159</c:v>
                </c:pt>
                <c:pt idx="15" c:formatCode="mmm/yy">
                  <c:v>43190</c:v>
                </c:pt>
                <c:pt idx="16" c:formatCode="mmm/yy">
                  <c:v>43220</c:v>
                </c:pt>
                <c:pt idx="17" c:formatCode="mmm/yy">
                  <c:v>43251</c:v>
                </c:pt>
                <c:pt idx="18" c:formatCode="mmm/yy">
                  <c:v>43281</c:v>
                </c:pt>
                <c:pt idx="19" c:formatCode="mmm/yy">
                  <c:v>43312</c:v>
                </c:pt>
                <c:pt idx="20" c:formatCode="mmm/yy">
                  <c:v>43343</c:v>
                </c:pt>
                <c:pt idx="21" c:formatCode="mmm/yy">
                  <c:v>43373</c:v>
                </c:pt>
                <c:pt idx="22" c:formatCode="mmm/yy">
                  <c:v>43404</c:v>
                </c:pt>
                <c:pt idx="23" c:formatCode="mmm/yy">
                  <c:v>43434</c:v>
                </c:pt>
                <c:pt idx="24" c:formatCode="mmm/yy">
                  <c:v>43465</c:v>
                </c:pt>
                <c:pt idx="25" c:formatCode="mmm/yy">
                  <c:v>43496</c:v>
                </c:pt>
                <c:pt idx="26" c:formatCode="mmm/yy">
                  <c:v>43524</c:v>
                </c:pt>
                <c:pt idx="27" c:formatCode="mmm/yy">
                  <c:v>43555</c:v>
                </c:pt>
                <c:pt idx="28" c:formatCode="mmm/yy">
                  <c:v>43585</c:v>
                </c:pt>
                <c:pt idx="29" c:formatCode="mmm/yy">
                  <c:v>43616</c:v>
                </c:pt>
                <c:pt idx="30" c:formatCode="mmm/yy">
                  <c:v>43646</c:v>
                </c:pt>
                <c:pt idx="31" c:formatCode="mmm/yy">
                  <c:v>43677</c:v>
                </c:pt>
                <c:pt idx="32" c:formatCode="mmm/yy">
                  <c:v>43708</c:v>
                </c:pt>
                <c:pt idx="33" c:formatCode="mmm/yy">
                  <c:v>43738</c:v>
                </c:pt>
                <c:pt idx="34" c:formatCode="mmm/yy">
                  <c:v>43769</c:v>
                </c:pt>
                <c:pt idx="35" c:formatCode="mmm/yy">
                  <c:v>43799</c:v>
                </c:pt>
                <c:pt idx="36" c:formatCode="mmm/yy">
                  <c:v>43830</c:v>
                </c:pt>
                <c:pt idx="37" c:formatCode="mmm/yy">
                  <c:v>43861</c:v>
                </c:pt>
                <c:pt idx="38" c:formatCode="mmm/yy">
                  <c:v>43890</c:v>
                </c:pt>
                <c:pt idx="39" c:formatCode="mmm/yy">
                  <c:v>43921</c:v>
                </c:pt>
                <c:pt idx="40" c:formatCode="mmm/yy">
                  <c:v>43951</c:v>
                </c:pt>
                <c:pt idx="41" c:formatCode="mmm/yy">
                  <c:v>43982</c:v>
                </c:pt>
                <c:pt idx="42" c:formatCode="mmm/yy">
                  <c:v>44012</c:v>
                </c:pt>
                <c:pt idx="43" c:formatCode="mmm/yy">
                  <c:v>44043</c:v>
                </c:pt>
                <c:pt idx="44" c:formatCode="mmm/yy">
                  <c:v>44074</c:v>
                </c:pt>
                <c:pt idx="45" c:formatCode="mmm/yy">
                  <c:v>44104</c:v>
                </c:pt>
                <c:pt idx="46" c:formatCode="mmm/yy">
                  <c:v>44135</c:v>
                </c:pt>
                <c:pt idx="47" c:formatCode="mmm/yy">
                  <c:v>44165</c:v>
                </c:pt>
                <c:pt idx="48" c:formatCode="mmm/yy">
                  <c:v>44196</c:v>
                </c:pt>
                <c:pt idx="49" c:formatCode="mmm/yy">
                  <c:v>44227</c:v>
                </c:pt>
                <c:pt idx="50" c:formatCode="mmm/yy">
                  <c:v>44255</c:v>
                </c:pt>
                <c:pt idx="51" c:formatCode="mmm/yy">
                  <c:v>44286</c:v>
                </c:pt>
                <c:pt idx="52" c:formatCode="mmm/yy">
                  <c:v>44316</c:v>
                </c:pt>
                <c:pt idx="53" c:formatCode="mmm/yy">
                  <c:v>44347</c:v>
                </c:pt>
                <c:pt idx="54" c:formatCode="mmm/yy">
                  <c:v>44377</c:v>
                </c:pt>
                <c:pt idx="55" c:formatCode="mmm/yy">
                  <c:v>44408</c:v>
                </c:pt>
                <c:pt idx="56" c:formatCode="mmm/yy">
                  <c:v>44439</c:v>
                </c:pt>
                <c:pt idx="57" c:formatCode="mmm/yy">
                  <c:v>44469</c:v>
                </c:pt>
                <c:pt idx="58" c:formatCode="mmm/yy">
                  <c:v>44500</c:v>
                </c:pt>
                <c:pt idx="59" c:formatCode="mmm/yy">
                  <c:v>44530</c:v>
                </c:pt>
                <c:pt idx="60" c:formatCode="mmm/yy">
                  <c:v>44561</c:v>
                </c:pt>
                <c:pt idx="61" c:formatCode="mmm/yy">
                  <c:v>44592</c:v>
                </c:pt>
                <c:pt idx="62" c:formatCode="mmm/yy">
                  <c:v>44620</c:v>
                </c:pt>
                <c:pt idx="63" c:formatCode="mmm/yy">
                  <c:v>44651</c:v>
                </c:pt>
                <c:pt idx="64" c:formatCode="mmm/yy">
                  <c:v>44681</c:v>
                </c:pt>
                <c:pt idx="65" c:formatCode="mmm/yy">
                  <c:v>44712</c:v>
                </c:pt>
                <c:pt idx="66" c:formatCode="mmm/yy">
                  <c:v>44742</c:v>
                </c:pt>
                <c:pt idx="67" c:formatCode="mmm/yy">
                  <c:v>44773</c:v>
                </c:pt>
                <c:pt idx="68" c:formatCode="mmm/yy">
                  <c:v>44804</c:v>
                </c:pt>
                <c:pt idx="69" c:formatCode="mmm/yy">
                  <c:v>44834</c:v>
                </c:pt>
                <c:pt idx="70" c:formatCode="mmm/yy">
                  <c:v>44865</c:v>
                </c:pt>
                <c:pt idx="71" c:formatCode="mmm/yy">
                  <c:v>44895</c:v>
                </c:pt>
                <c:pt idx="72" c:formatCode="mmm/yy">
                  <c:v>44926</c:v>
                </c:pt>
                <c:pt idx="73" c:formatCode="mmm/yy">
                  <c:v>44957</c:v>
                </c:pt>
                <c:pt idx="74" c:formatCode="mmm/yy">
                  <c:v>44985</c:v>
                </c:pt>
                <c:pt idx="75" c:formatCode="mmm/yy">
                  <c:v>45016</c:v>
                </c:pt>
                <c:pt idx="76" c:formatCode="mmm/yy">
                  <c:v>45046</c:v>
                </c:pt>
                <c:pt idx="77" c:formatCode="mmm/yy">
                  <c:v>45077</c:v>
                </c:pt>
                <c:pt idx="78" c:formatCode="mmm/yy">
                  <c:v>45107</c:v>
                </c:pt>
                <c:pt idx="79" c:formatCode="mmm/yy">
                  <c:v>45138</c:v>
                </c:pt>
                <c:pt idx="80" c:formatCode="mmm/yy">
                  <c:v>45169</c:v>
                </c:pt>
                <c:pt idx="81" c:formatCode="mmm/yy">
                  <c:v>45199</c:v>
                </c:pt>
                <c:pt idx="82" c:formatCode="mmm/yy">
                  <c:v>45230</c:v>
                </c:pt>
                <c:pt idx="83" c:formatCode="mmm/yy">
                  <c:v>45260</c:v>
                </c:pt>
                <c:pt idx="84" c:formatCode="mmm/yy">
                  <c:v>45291</c:v>
                </c:pt>
                <c:pt idx="85" c:formatCode="mmm/yy">
                  <c:v>45322</c:v>
                </c:pt>
                <c:pt idx="86" c:formatCode="mmm/yy">
                  <c:v>45351</c:v>
                </c:pt>
                <c:pt idx="87" c:formatCode="mmm/yy">
                  <c:v>45382</c:v>
                </c:pt>
                <c:pt idx="88" c:formatCode="mmm/yy">
                  <c:v>45412</c:v>
                </c:pt>
                <c:pt idx="89" c:formatCode="mmm/yy">
                  <c:v>45443</c:v>
                </c:pt>
                <c:pt idx="90" c:formatCode="mmm/yy">
                  <c:v>45473</c:v>
                </c:pt>
                <c:pt idx="91" c:formatCode="mmm/yy">
                  <c:v>45504</c:v>
                </c:pt>
                <c:pt idx="92" c:formatCode="mmm/yy">
                  <c:v>45535</c:v>
                </c:pt>
                <c:pt idx="93" c:formatCode="mmm/yy">
                  <c:v>45565</c:v>
                </c:pt>
                <c:pt idx="94" c:formatCode="mmm/yy">
                  <c:v>45596</c:v>
                </c:pt>
                <c:pt idx="95" c:formatCode="mmm/yy">
                  <c:v>45626</c:v>
                </c:pt>
                <c:pt idx="96" c:formatCode="mmm/yy">
                  <c:v>45657</c:v>
                </c:pt>
                <c:pt idx="97" c:formatCode="mmm/yy">
                  <c:v>45688</c:v>
                </c:pt>
                <c:pt idx="98" c:formatCode="mmm/yy">
                  <c:v>45716</c:v>
                </c:pt>
                <c:pt idx="99" c:formatCode="mmm/yy">
                  <c:v>45747</c:v>
                </c:pt>
                <c:pt idx="100" c:formatCode="mmm/yy">
                  <c:v>45777</c:v>
                </c:pt>
                <c:pt idx="101" c:formatCode="mmm/yy">
                  <c:v>45808</c:v>
                </c:pt>
              </c:numCache>
            </c:numRef>
          </c:cat>
          <c:val>
            <c:numRef>
              <c:f>Sheet1!$C$2:$C$103</c:f>
              <c:numCache>
                <c:formatCode>#,##0.0</c:formatCode>
                <c:ptCount val="102"/>
                <c:pt idx="0">
                  <c:v>100</c:v>
                </c:pt>
                <c:pt idx="1">
                  <c:v>103.88095756582</c:v>
                </c:pt>
                <c:pt idx="2">
                  <c:v>108.048798452591</c:v>
                </c:pt>
                <c:pt idx="3">
                  <c:v>111.497429525444</c:v>
                </c:pt>
                <c:pt idx="4">
                  <c:v>112.618756351463</c:v>
                </c:pt>
                <c:pt idx="5">
                  <c:v>117.273178037387</c:v>
                </c:pt>
                <c:pt idx="6">
                  <c:v>116.973351608468</c:v>
                </c:pt>
                <c:pt idx="7">
                  <c:v>123.336930716744</c:v>
                </c:pt>
                <c:pt idx="8">
                  <c:v>120.46967202965</c:v>
                </c:pt>
                <c:pt idx="9">
                  <c:v>118.846766411327</c:v>
                </c:pt>
                <c:pt idx="10">
                  <c:v>126.299061050906</c:v>
                </c:pt>
                <c:pt idx="11">
                  <c:v>126.112360054313</c:v>
                </c:pt>
                <c:pt idx="12">
                  <c:v>129.564780655684</c:v>
                </c:pt>
                <c:pt idx="13">
                  <c:v>136.854659305374</c:v>
                </c:pt>
                <c:pt idx="14">
                  <c:v>130.158242171154</c:v>
                </c:pt>
                <c:pt idx="15">
                  <c:v>125.659938385469</c:v>
                </c:pt>
                <c:pt idx="16">
                  <c:v>134.013497552766</c:v>
                </c:pt>
                <c:pt idx="17">
                  <c:v>134.962006958119</c:v>
                </c:pt>
                <c:pt idx="18">
                  <c:v>135.637751671097</c:v>
                </c:pt>
                <c:pt idx="19">
                  <c:v>144.262637781837</c:v>
                </c:pt>
                <c:pt idx="20">
                  <c:v>148.414798440376</c:v>
                </c:pt>
                <c:pt idx="21">
                  <c:v>139.201033542935</c:v>
                </c:pt>
                <c:pt idx="22">
                  <c:v>132.494364460058</c:v>
                </c:pt>
                <c:pt idx="23">
                  <c:v>139.373913361973</c:v>
                </c:pt>
                <c:pt idx="24">
                  <c:v>138.926355977192</c:v>
                </c:pt>
                <c:pt idx="25">
                  <c:v>139.667775555146</c:v>
                </c:pt>
                <c:pt idx="26">
                  <c:v>138.296717294904</c:v>
                </c:pt>
                <c:pt idx="27">
                  <c:v>149.244421388198</c:v>
                </c:pt>
                <c:pt idx="28">
                  <c:v>150.628463569596</c:v>
                </c:pt>
                <c:pt idx="29">
                  <c:v>153.456218252257</c:v>
                </c:pt>
                <c:pt idx="30">
                  <c:v>152.62610796957</c:v>
                </c:pt>
                <c:pt idx="31">
                  <c:v>145.607550141948</c:v>
                </c:pt>
                <c:pt idx="32">
                  <c:v>145.248496115783</c:v>
                </c:pt>
                <c:pt idx="33">
                  <c:v>150.440704524502</c:v>
                </c:pt>
                <c:pt idx="34">
                  <c:v>156.304365248939</c:v>
                </c:pt>
                <c:pt idx="35">
                  <c:v>158.893625637824</c:v>
                </c:pt>
                <c:pt idx="36">
                  <c:v>160.685089447131</c:v>
                </c:pt>
                <c:pt idx="37">
                  <c:v>158.64676643304</c:v>
                </c:pt>
                <c:pt idx="38">
                  <c:v>149.235348237447</c:v>
                </c:pt>
                <c:pt idx="39">
                  <c:v>115.131046370954</c:v>
                </c:pt>
                <c:pt idx="40">
                  <c:v>131.732027519473</c:v>
                </c:pt>
                <c:pt idx="41">
                  <c:v>126.808906121543</c:v>
                </c:pt>
                <c:pt idx="42">
                  <c:v>136.631715873952</c:v>
                </c:pt>
                <c:pt idx="43">
                  <c:v>147.757142759072</c:v>
                </c:pt>
                <c:pt idx="44">
                  <c:v>151.934393560525</c:v>
                </c:pt>
                <c:pt idx="45">
                  <c:v>149.771694418232</c:v>
                </c:pt>
                <c:pt idx="46">
                  <c:v>156.137503582407</c:v>
                </c:pt>
                <c:pt idx="47">
                  <c:v>174.014592295747</c:v>
                </c:pt>
                <c:pt idx="48">
                  <c:v>188.257439540708</c:v>
                </c:pt>
                <c:pt idx="49">
                  <c:v>182.515373641961</c:v>
                </c:pt>
                <c:pt idx="50">
                  <c:v>193.860471912606</c:v>
                </c:pt>
                <c:pt idx="51">
                  <c:v>195.512316611064</c:v>
                </c:pt>
                <c:pt idx="52">
                  <c:v>192.676668054902</c:v>
                </c:pt>
                <c:pt idx="53">
                  <c:v>205.544697475173</c:v>
                </c:pt>
                <c:pt idx="54">
                  <c:v>208.197570667144</c:v>
                </c:pt>
                <c:pt idx="55">
                  <c:v>208.944603059182</c:v>
                </c:pt>
                <c:pt idx="56">
                  <c:v>228.737253812033</c:v>
                </c:pt>
                <c:pt idx="57">
                  <c:v>235.085336413587</c:v>
                </c:pt>
                <c:pt idx="58">
                  <c:v>236.123586840787</c:v>
                </c:pt>
                <c:pt idx="59">
                  <c:v>227.197080231465</c:v>
                </c:pt>
                <c:pt idx="60">
                  <c:v>231.980487972668</c:v>
                </c:pt>
                <c:pt idx="61">
                  <c:v>231.093301097993</c:v>
                </c:pt>
                <c:pt idx="62">
                  <c:v>224.370968128341</c:v>
                </c:pt>
                <c:pt idx="63">
                  <c:v>233.63037836533</c:v>
                </c:pt>
                <c:pt idx="64">
                  <c:v>227.720819959541</c:v>
                </c:pt>
                <c:pt idx="65">
                  <c:v>222.789607467791</c:v>
                </c:pt>
                <c:pt idx="66">
                  <c:v>212.824956953639</c:v>
                </c:pt>
                <c:pt idx="67">
                  <c:v>231.411017647581</c:v>
                </c:pt>
                <c:pt idx="68">
                  <c:v>239.724378040732</c:v>
                </c:pt>
                <c:pt idx="69">
                  <c:v>231.227905406763</c:v>
                </c:pt>
                <c:pt idx="70">
                  <c:v>244.903346623814</c:v>
                </c:pt>
                <c:pt idx="71">
                  <c:v>254.54944071982</c:v>
                </c:pt>
                <c:pt idx="72">
                  <c:v>245.436812480847</c:v>
                </c:pt>
                <c:pt idx="73">
                  <c:v>240.300060731421</c:v>
                </c:pt>
                <c:pt idx="74">
                  <c:v>238.264670255641</c:v>
                </c:pt>
                <c:pt idx="75">
                  <c:v>238.383511035167</c:v>
                </c:pt>
                <c:pt idx="76">
                  <c:v>247.034954729121</c:v>
                </c:pt>
                <c:pt idx="77">
                  <c:v>254.089001030223</c:v>
                </c:pt>
                <c:pt idx="78">
                  <c:v>263.19569860319</c:v>
                </c:pt>
                <c:pt idx="79">
                  <c:v>270.818855604139</c:v>
                </c:pt>
                <c:pt idx="80">
                  <c:v>264.513342286515</c:v>
                </c:pt>
                <c:pt idx="81">
                  <c:v>268.581107470589</c:v>
                </c:pt>
                <c:pt idx="82">
                  <c:v>260.917026314973</c:v>
                </c:pt>
                <c:pt idx="83">
                  <c:v>273.85722583907</c:v>
                </c:pt>
                <c:pt idx="84">
                  <c:v>295.327307406115</c:v>
                </c:pt>
                <c:pt idx="85">
                  <c:v>293.415463519744</c:v>
                </c:pt>
                <c:pt idx="86">
                  <c:v>296.831073307217</c:v>
                </c:pt>
                <c:pt idx="87">
                  <c:v>301.543722372464</c:v>
                </c:pt>
                <c:pt idx="88" c:formatCode="#,##0.00">
                  <c:v>304.947626295132</c:v>
                </c:pt>
                <c:pt idx="89" c:formatCode="#,##0.00">
                  <c:v>303.967953123818</c:v>
                </c:pt>
                <c:pt idx="90" c:formatCode="#,##0.00">
                  <c:v>325.557776133733</c:v>
                </c:pt>
                <c:pt idx="91" c:formatCode="#,##0.00">
                  <c:v>337.042906620753</c:v>
                </c:pt>
                <c:pt idx="92" c:formatCode="#,##0.00">
                  <c:v>340.244814233651</c:v>
                </c:pt>
                <c:pt idx="93" c:formatCode="#,##0.00">
                  <c:v>348.234025245617</c:v>
                </c:pt>
                <c:pt idx="94" c:formatCode="#,##0.00">
                  <c:v>328.3743311205</c:v>
                </c:pt>
                <c:pt idx="95" c:formatCode="#,##0.00">
                  <c:v>330.228876893684</c:v>
                </c:pt>
                <c:pt idx="96" c:formatCode="#,##0.00">
                  <c:v>323.344055527674</c:v>
                </c:pt>
                <c:pt idx="97" c:formatCode="#,##0.00">
                  <c:v>320.826654361243</c:v>
                </c:pt>
                <c:pt idx="98" c:formatCode="#,##0.00">
                  <c:v>303.326816821554</c:v>
                </c:pt>
                <c:pt idx="99" c:formatCode="#,##0.00">
                  <c:v>320.80086808501</c:v>
                </c:pt>
                <c:pt idx="100" c:formatCode="#,##0.00">
                  <c:v>332.585055372642</c:v>
                </c:pt>
                <c:pt idx="101" c:formatCode="#,##0.00">
                  <c:v>338.393620536432</c:v>
                </c:pt>
              </c:numCache>
            </c:numRef>
          </c:val>
          <c:smooth val="0"/>
        </c:ser>
        <c:dLbls>
          <c:showLegendKey val="0"/>
          <c:showVal val="0"/>
          <c:showCatName val="0"/>
          <c:showSerName val="0"/>
          <c:showPercent val="0"/>
          <c:showBubbleSize val="0"/>
        </c:dLbls>
        <c:marker val="0"/>
        <c:smooth val="0"/>
        <c:axId val="1172110303"/>
        <c:axId val="1301341519"/>
      </c:lineChart>
      <c:dateAx>
        <c:axId val="1172110303"/>
        <c:scaling>
          <c:orientation val="minMax"/>
          <c:max val="45808"/>
          <c:min val="42705"/>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GB"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crossAx val="1301341519"/>
        <c:crosses val="autoZero"/>
        <c:auto val="1"/>
        <c:lblOffset val="100"/>
        <c:baseTimeUnit val="months"/>
        <c:majorUnit val="9"/>
        <c:majorTimeUnit val="months"/>
      </c:dateAx>
      <c:valAx>
        <c:axId val="1301341519"/>
        <c:scaling>
          <c:orientation val="minMax"/>
          <c:min val="100"/>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lang="en-GB"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crossAx val="1172110303"/>
        <c:crosses val="autoZero"/>
        <c:crossBetween val="midCat"/>
        <c:majorUnit val="75"/>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en-GB" sz="9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legend>
    <c:plotVisOnly val="1"/>
    <c:dispBlanksAs val="gap"/>
    <c:showDLblsOverMax val="0"/>
    <c:extLst>
      <c:ext uri="{0b15fc19-7d7d-44ad-8c2d-2c3a37ce22c3}">
        <chartProps xmlns="https://web.wps.cn/et/2018/main" chartId="{03ba1586-e1c9-4542-aaf3-c530a1314de1}"/>
      </c:ext>
    </c:extLst>
  </c:chart>
  <c:spPr>
    <a:noFill/>
    <a:ln>
      <a:noFill/>
    </a:ln>
    <a:effectLst/>
  </c:spPr>
  <c:txPr>
    <a:bodyPr/>
    <a:lstStyle/>
    <a:p>
      <a:pPr>
        <a:defRPr lang="en-GB" sz="900">
          <a:latin typeface="Calibri" panose="020F0502020204030204" pitchFamily="34" charset="0"/>
          <a:cs typeface="Calibri" panose="020F0502020204030204" pitchFamily="34" charset="0"/>
        </a:defRPr>
      </a:pP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GB" sz="10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GB" dirty="0"/>
              <a:t>Nippon India</a:t>
            </a:r>
            <a:r>
              <a:rPr lang="en-GB" baseline="0" dirty="0"/>
              <a:t> Nifty </a:t>
            </a:r>
            <a:r>
              <a:rPr lang="en-GB" baseline="0" dirty="0" err="1"/>
              <a:t>BeES</a:t>
            </a:r>
            <a:r>
              <a:rPr lang="en-GB" baseline="0" dirty="0"/>
              <a:t> ETF</a:t>
            </a:r>
            <a:r>
              <a:rPr lang="en-GB" dirty="0"/>
              <a:t> vs Nifty 50</a:t>
            </a:r>
            <a:r>
              <a:rPr lang="en-GB" baseline="0" dirty="0"/>
              <a:t> T</a:t>
            </a:r>
            <a:r>
              <a:rPr lang="en-GB" dirty="0"/>
              <a:t>RI</a:t>
            </a:r>
            <a:endParaRPr lang="en-GB" dirty="0"/>
          </a:p>
        </c:rich>
      </c:tx>
      <c:layout/>
      <c:overlay val="0"/>
      <c:spPr>
        <a:noFill/>
        <a:ln>
          <a:noFill/>
        </a:ln>
        <a:effectLst/>
      </c:spPr>
    </c:title>
    <c:autoTitleDeleted val="0"/>
    <c:plotArea>
      <c:layout>
        <c:manualLayout>
          <c:layoutTarget val="inner"/>
          <c:xMode val="edge"/>
          <c:yMode val="edge"/>
          <c:x val="0.108040970632176"/>
          <c:y val="0.150720988369987"/>
          <c:w val="0.837005457531139"/>
          <c:h val="0.510346545415021"/>
        </c:manualLayout>
      </c:layout>
      <c:lineChart>
        <c:grouping val="standard"/>
        <c:varyColors val="0"/>
        <c:ser>
          <c:idx val="0"/>
          <c:order val="0"/>
          <c:tx>
            <c:strRef>
              <c:f>Sheet1!$B$1</c:f>
              <c:strCache>
                <c:ptCount val="1"/>
                <c:pt idx="0">
                  <c:v>Nippon India Nifty 50 BeES ETF</c:v>
                </c:pt>
              </c:strCache>
            </c:strRef>
          </c:tx>
          <c:spPr>
            <a:ln w="12700" cap="rnd">
              <a:solidFill>
                <a:srgbClr val="00A290"/>
              </a:solidFill>
              <a:round/>
            </a:ln>
            <a:effectLst/>
          </c:spPr>
          <c:marker>
            <c:symbol val="none"/>
          </c:marker>
          <c:dLbls>
            <c:delete val="1"/>
          </c:dLbls>
          <c:cat>
            <c:numRef>
              <c:f>Sheet1!$A$2:$A$103</c:f>
              <c:numCache>
                <c:formatCode>mmm/yy</c:formatCode>
                <c:ptCount val="102"/>
                <c:pt idx="0" c:formatCode="mmm/yy">
                  <c:v>42735</c:v>
                </c:pt>
                <c:pt idx="1" c:formatCode="mmm/yy">
                  <c:v>42766</c:v>
                </c:pt>
                <c:pt idx="2" c:formatCode="mmm/yy">
                  <c:v>42794</c:v>
                </c:pt>
                <c:pt idx="3" c:formatCode="mmm/yy">
                  <c:v>42825</c:v>
                </c:pt>
                <c:pt idx="4" c:formatCode="mmm/yy">
                  <c:v>42855</c:v>
                </c:pt>
                <c:pt idx="5" c:formatCode="mmm/yy">
                  <c:v>42886</c:v>
                </c:pt>
                <c:pt idx="6" c:formatCode="mmm/yy">
                  <c:v>42916</c:v>
                </c:pt>
                <c:pt idx="7" c:formatCode="mmm/yy">
                  <c:v>42947</c:v>
                </c:pt>
                <c:pt idx="8" c:formatCode="mmm/yy">
                  <c:v>42978</c:v>
                </c:pt>
                <c:pt idx="9" c:formatCode="mmm/yy">
                  <c:v>43008</c:v>
                </c:pt>
                <c:pt idx="10" c:formatCode="mmm/yy">
                  <c:v>43039</c:v>
                </c:pt>
                <c:pt idx="11" c:formatCode="mmm/yy">
                  <c:v>43069</c:v>
                </c:pt>
                <c:pt idx="12" c:formatCode="mmm/yy">
                  <c:v>43100</c:v>
                </c:pt>
                <c:pt idx="13" c:formatCode="mmm/yy">
                  <c:v>43131</c:v>
                </c:pt>
                <c:pt idx="14" c:formatCode="mmm/yy">
                  <c:v>43159</c:v>
                </c:pt>
                <c:pt idx="15" c:formatCode="mmm/yy">
                  <c:v>43190</c:v>
                </c:pt>
                <c:pt idx="16" c:formatCode="mmm/yy">
                  <c:v>43220</c:v>
                </c:pt>
                <c:pt idx="17" c:formatCode="mmm/yy">
                  <c:v>43251</c:v>
                </c:pt>
                <c:pt idx="18" c:formatCode="mmm/yy">
                  <c:v>43281</c:v>
                </c:pt>
                <c:pt idx="19" c:formatCode="mmm/yy">
                  <c:v>43312</c:v>
                </c:pt>
                <c:pt idx="20" c:formatCode="mmm/yy">
                  <c:v>43343</c:v>
                </c:pt>
                <c:pt idx="21" c:formatCode="mmm/yy">
                  <c:v>43373</c:v>
                </c:pt>
                <c:pt idx="22" c:formatCode="mmm/yy">
                  <c:v>43404</c:v>
                </c:pt>
                <c:pt idx="23" c:formatCode="mmm/yy">
                  <c:v>43434</c:v>
                </c:pt>
                <c:pt idx="24" c:formatCode="mmm/yy">
                  <c:v>43465</c:v>
                </c:pt>
                <c:pt idx="25" c:formatCode="mmm/yy">
                  <c:v>43496</c:v>
                </c:pt>
                <c:pt idx="26" c:formatCode="mmm/yy">
                  <c:v>43524</c:v>
                </c:pt>
                <c:pt idx="27" c:formatCode="mmm/yy">
                  <c:v>43555</c:v>
                </c:pt>
                <c:pt idx="28" c:formatCode="mmm/yy">
                  <c:v>43585</c:v>
                </c:pt>
                <c:pt idx="29" c:formatCode="mmm/yy">
                  <c:v>43616</c:v>
                </c:pt>
                <c:pt idx="30" c:formatCode="mmm/yy">
                  <c:v>43646</c:v>
                </c:pt>
                <c:pt idx="31" c:formatCode="mmm/yy">
                  <c:v>43677</c:v>
                </c:pt>
                <c:pt idx="32" c:formatCode="mmm/yy">
                  <c:v>43708</c:v>
                </c:pt>
                <c:pt idx="33" c:formatCode="mmm/yy">
                  <c:v>43738</c:v>
                </c:pt>
                <c:pt idx="34" c:formatCode="mmm/yy">
                  <c:v>43769</c:v>
                </c:pt>
                <c:pt idx="35" c:formatCode="mmm/yy">
                  <c:v>43799</c:v>
                </c:pt>
                <c:pt idx="36" c:formatCode="mmm/yy">
                  <c:v>43830</c:v>
                </c:pt>
                <c:pt idx="37" c:formatCode="mmm/yy">
                  <c:v>43861</c:v>
                </c:pt>
                <c:pt idx="38" c:formatCode="mmm/yy">
                  <c:v>43890</c:v>
                </c:pt>
                <c:pt idx="39" c:formatCode="mmm/yy">
                  <c:v>43921</c:v>
                </c:pt>
                <c:pt idx="40" c:formatCode="mmm/yy">
                  <c:v>43951</c:v>
                </c:pt>
                <c:pt idx="41" c:formatCode="mmm/yy">
                  <c:v>43982</c:v>
                </c:pt>
                <c:pt idx="42" c:formatCode="mmm/yy">
                  <c:v>44012</c:v>
                </c:pt>
                <c:pt idx="43" c:formatCode="mmm/yy">
                  <c:v>44043</c:v>
                </c:pt>
                <c:pt idx="44" c:formatCode="mmm/yy">
                  <c:v>44074</c:v>
                </c:pt>
                <c:pt idx="45" c:formatCode="mmm/yy">
                  <c:v>44104</c:v>
                </c:pt>
                <c:pt idx="46" c:formatCode="mmm/yy">
                  <c:v>44135</c:v>
                </c:pt>
                <c:pt idx="47" c:formatCode="mmm/yy">
                  <c:v>44165</c:v>
                </c:pt>
                <c:pt idx="48" c:formatCode="mmm/yy">
                  <c:v>44196</c:v>
                </c:pt>
                <c:pt idx="49" c:formatCode="mmm/yy">
                  <c:v>44227</c:v>
                </c:pt>
                <c:pt idx="50" c:formatCode="mmm/yy">
                  <c:v>44255</c:v>
                </c:pt>
                <c:pt idx="51" c:formatCode="mmm/yy">
                  <c:v>44286</c:v>
                </c:pt>
                <c:pt idx="52" c:formatCode="mmm/yy">
                  <c:v>44316</c:v>
                </c:pt>
                <c:pt idx="53" c:formatCode="mmm/yy">
                  <c:v>44347</c:v>
                </c:pt>
                <c:pt idx="54" c:formatCode="mmm/yy">
                  <c:v>44377</c:v>
                </c:pt>
                <c:pt idx="55" c:formatCode="mmm/yy">
                  <c:v>44408</c:v>
                </c:pt>
                <c:pt idx="56" c:formatCode="mmm/yy">
                  <c:v>44439</c:v>
                </c:pt>
                <c:pt idx="57" c:formatCode="mmm/yy">
                  <c:v>44469</c:v>
                </c:pt>
                <c:pt idx="58" c:formatCode="mmm/yy">
                  <c:v>44500</c:v>
                </c:pt>
                <c:pt idx="59" c:formatCode="mmm/yy">
                  <c:v>44530</c:v>
                </c:pt>
                <c:pt idx="60" c:formatCode="mmm/yy">
                  <c:v>44561</c:v>
                </c:pt>
                <c:pt idx="61" c:formatCode="mmm/yy">
                  <c:v>44592</c:v>
                </c:pt>
                <c:pt idx="62" c:formatCode="mmm/yy">
                  <c:v>44620</c:v>
                </c:pt>
                <c:pt idx="63" c:formatCode="mmm/yy">
                  <c:v>44651</c:v>
                </c:pt>
                <c:pt idx="64" c:formatCode="mmm/yy">
                  <c:v>44681</c:v>
                </c:pt>
                <c:pt idx="65" c:formatCode="mmm/yy">
                  <c:v>44712</c:v>
                </c:pt>
                <c:pt idx="66" c:formatCode="mmm/yy">
                  <c:v>44742</c:v>
                </c:pt>
                <c:pt idx="67" c:formatCode="mmm/yy">
                  <c:v>44773</c:v>
                </c:pt>
                <c:pt idx="68" c:formatCode="mmm/yy">
                  <c:v>44804</c:v>
                </c:pt>
                <c:pt idx="69" c:formatCode="mmm/yy">
                  <c:v>44834</c:v>
                </c:pt>
                <c:pt idx="70" c:formatCode="mmm/yy">
                  <c:v>44865</c:v>
                </c:pt>
                <c:pt idx="71" c:formatCode="mmm/yy">
                  <c:v>44895</c:v>
                </c:pt>
                <c:pt idx="72" c:formatCode="mmm/yy">
                  <c:v>44926</c:v>
                </c:pt>
                <c:pt idx="73" c:formatCode="mmm/yy">
                  <c:v>44957</c:v>
                </c:pt>
                <c:pt idx="74" c:formatCode="mmm/yy">
                  <c:v>44985</c:v>
                </c:pt>
                <c:pt idx="75" c:formatCode="mmm/yy">
                  <c:v>45016</c:v>
                </c:pt>
                <c:pt idx="76" c:formatCode="mmm/yy">
                  <c:v>45046</c:v>
                </c:pt>
                <c:pt idx="77" c:formatCode="mmm/yy">
                  <c:v>45077</c:v>
                </c:pt>
                <c:pt idx="78" c:formatCode="mmm/yy">
                  <c:v>45107</c:v>
                </c:pt>
                <c:pt idx="79" c:formatCode="mmm/yy">
                  <c:v>45138</c:v>
                </c:pt>
                <c:pt idx="80" c:formatCode="mmm/yy">
                  <c:v>45169</c:v>
                </c:pt>
                <c:pt idx="81" c:formatCode="mmm/yy">
                  <c:v>45199</c:v>
                </c:pt>
                <c:pt idx="82" c:formatCode="mmm/yy">
                  <c:v>45230</c:v>
                </c:pt>
                <c:pt idx="83" c:formatCode="mmm/yy">
                  <c:v>45260</c:v>
                </c:pt>
                <c:pt idx="84" c:formatCode="mmm/yy">
                  <c:v>45291</c:v>
                </c:pt>
                <c:pt idx="85" c:formatCode="mmm/yy">
                  <c:v>45322</c:v>
                </c:pt>
                <c:pt idx="86" c:formatCode="mmm/yy">
                  <c:v>45351</c:v>
                </c:pt>
                <c:pt idx="87" c:formatCode="mmm/yy">
                  <c:v>45382</c:v>
                </c:pt>
                <c:pt idx="88" c:formatCode="mmm/yy">
                  <c:v>45412</c:v>
                </c:pt>
                <c:pt idx="89" c:formatCode="mmm/yy">
                  <c:v>45443</c:v>
                </c:pt>
                <c:pt idx="90" c:formatCode="mmm/yy">
                  <c:v>45473</c:v>
                </c:pt>
                <c:pt idx="91" c:formatCode="mmm/yy">
                  <c:v>45504</c:v>
                </c:pt>
                <c:pt idx="92" c:formatCode="mmm/yy">
                  <c:v>45535</c:v>
                </c:pt>
                <c:pt idx="93" c:formatCode="mmm/yy">
                  <c:v>45565</c:v>
                </c:pt>
                <c:pt idx="94" c:formatCode="mmm/yy">
                  <c:v>45596</c:v>
                </c:pt>
                <c:pt idx="95" c:formatCode="mmm/yy">
                  <c:v>45626</c:v>
                </c:pt>
                <c:pt idx="96" c:formatCode="mmm/yy">
                  <c:v>45657</c:v>
                </c:pt>
                <c:pt idx="97" c:formatCode="mmm/yy">
                  <c:v>45688</c:v>
                </c:pt>
                <c:pt idx="98" c:formatCode="mmm/yy">
                  <c:v>45716</c:v>
                </c:pt>
                <c:pt idx="99" c:formatCode="mmm/yy">
                  <c:v>45747</c:v>
                </c:pt>
                <c:pt idx="100" c:formatCode="mmm/yy">
                  <c:v>45777</c:v>
                </c:pt>
                <c:pt idx="101" c:formatCode="mmm/yy">
                  <c:v>45808</c:v>
                </c:pt>
              </c:numCache>
            </c:numRef>
          </c:cat>
          <c:val>
            <c:numRef>
              <c:f>Sheet1!$B$2:$B$103</c:f>
              <c:numCache>
                <c:formatCode>#,##0.0</c:formatCode>
                <c:ptCount val="102"/>
                <c:pt idx="0">
                  <c:v>100</c:v>
                </c:pt>
                <c:pt idx="1">
                  <c:v>104.548004297949</c:v>
                </c:pt>
                <c:pt idx="2">
                  <c:v>108.519800444159</c:v>
                </c:pt>
                <c:pt idx="3">
                  <c:v>112.230935273156</c:v>
                </c:pt>
                <c:pt idx="4">
                  <c:v>113.815899729846</c:v>
                </c:pt>
                <c:pt idx="5">
                  <c:v>117.739011165282</c:v>
                </c:pt>
                <c:pt idx="6">
                  <c:v>116.958822813988</c:v>
                </c:pt>
                <c:pt idx="7">
                  <c:v>124.091569871837</c:v>
                </c:pt>
                <c:pt idx="8">
                  <c:v>122.248661439794</c:v>
                </c:pt>
                <c:pt idx="9">
                  <c:v>120.711232509655</c:v>
                </c:pt>
                <c:pt idx="10">
                  <c:v>127.547310477974</c:v>
                </c:pt>
                <c:pt idx="11">
                  <c:v>126.261062095212</c:v>
                </c:pt>
                <c:pt idx="12">
                  <c:v>130.010922038384</c:v>
                </c:pt>
                <c:pt idx="13">
                  <c:v>136.186422579938</c:v>
                </c:pt>
                <c:pt idx="14">
                  <c:v>129.802309189931</c:v>
                </c:pt>
                <c:pt idx="15">
                  <c:v>125.347448667378</c:v>
                </c:pt>
                <c:pt idx="16">
                  <c:v>133.093680540194</c:v>
                </c:pt>
                <c:pt idx="17">
                  <c:v>133.337439272796</c:v>
                </c:pt>
                <c:pt idx="18">
                  <c:v>133.380509739815</c:v>
                </c:pt>
                <c:pt idx="19">
                  <c:v>141.661746721712</c:v>
                </c:pt>
                <c:pt idx="20">
                  <c:v>145.90896402</c:v>
                </c:pt>
                <c:pt idx="21">
                  <c:v>136.60679656279</c:v>
                </c:pt>
                <c:pt idx="22">
                  <c:v>129.955689371674</c:v>
                </c:pt>
                <c:pt idx="23">
                  <c:v>136.111115101334</c:v>
                </c:pt>
                <c:pt idx="24">
                  <c:v>136.021897705367</c:v>
                </c:pt>
                <c:pt idx="25">
                  <c:v>135.68899340081</c:v>
                </c:pt>
                <c:pt idx="26">
                  <c:v>135.393078463426</c:v>
                </c:pt>
                <c:pt idx="27">
                  <c:v>145.91357272756</c:v>
                </c:pt>
                <c:pt idx="28">
                  <c:v>147.48398085076</c:v>
                </c:pt>
                <c:pt idx="29">
                  <c:v>149.874822714392</c:v>
                </c:pt>
                <c:pt idx="30">
                  <c:v>148.523753159059</c:v>
                </c:pt>
                <c:pt idx="31">
                  <c:v>140.454612490292</c:v>
                </c:pt>
                <c:pt idx="32">
                  <c:v>139.573535340767</c:v>
                </c:pt>
                <c:pt idx="33">
                  <c:v>145.279749745982</c:v>
                </c:pt>
                <c:pt idx="34">
                  <c:v>150.641029324309</c:v>
                </c:pt>
                <c:pt idx="35">
                  <c:v>152.902911170933</c:v>
                </c:pt>
                <c:pt idx="36">
                  <c:v>154.346932970958</c:v>
                </c:pt>
                <c:pt idx="37">
                  <c:v>151.758634922368</c:v>
                </c:pt>
                <c:pt idx="38">
                  <c:v>142.16522108868</c:v>
                </c:pt>
                <c:pt idx="39">
                  <c:v>109.191654241112</c:v>
                </c:pt>
                <c:pt idx="40">
                  <c:v>125.214514388265</c:v>
                </c:pt>
                <c:pt idx="41">
                  <c:v>121.786234496787</c:v>
                </c:pt>
                <c:pt idx="42">
                  <c:v>130.993833668991</c:v>
                </c:pt>
                <c:pt idx="43">
                  <c:v>141.03518993621</c:v>
                </c:pt>
                <c:pt idx="44">
                  <c:v>145.205651304946</c:v>
                </c:pt>
                <c:pt idx="45">
                  <c:v>143.456377445728</c:v>
                </c:pt>
                <c:pt idx="46">
                  <c:v>148.747054018362</c:v>
                </c:pt>
                <c:pt idx="47">
                  <c:v>165.726729737728</c:v>
                </c:pt>
                <c:pt idx="48">
                  <c:v>178.694675159138</c:v>
                </c:pt>
                <c:pt idx="49">
                  <c:v>174.308861455307</c:v>
                </c:pt>
                <c:pt idx="50">
                  <c:v>185.999177375628</c:v>
                </c:pt>
                <c:pt idx="51">
                  <c:v>188.16479110225</c:v>
                </c:pt>
                <c:pt idx="52">
                  <c:v>187.481265903033</c:v>
                </c:pt>
                <c:pt idx="53">
                  <c:v>200.003064491261</c:v>
                </c:pt>
                <c:pt idx="54">
                  <c:v>202.259775008882</c:v>
                </c:pt>
                <c:pt idx="55">
                  <c:v>203.139020646052</c:v>
                </c:pt>
                <c:pt idx="56">
                  <c:v>220.853336321212</c:v>
                </c:pt>
                <c:pt idx="57">
                  <c:v>227.218021315452</c:v>
                </c:pt>
                <c:pt idx="58">
                  <c:v>228.193391424596</c:v>
                </c:pt>
                <c:pt idx="59">
                  <c:v>219.437325886619</c:v>
                </c:pt>
                <c:pt idx="60">
                  <c:v>224.283890639799</c:v>
                </c:pt>
                <c:pt idx="61">
                  <c:v>224.151255627412</c:v>
                </c:pt>
                <c:pt idx="62">
                  <c:v>217.481198867288</c:v>
                </c:pt>
                <c:pt idx="63">
                  <c:v>226.162088604019</c:v>
                </c:pt>
                <c:pt idx="64">
                  <c:v>221.559246671436</c:v>
                </c:pt>
                <c:pt idx="65">
                  <c:v>215.699005668351</c:v>
                </c:pt>
                <c:pt idx="66">
                  <c:v>205.563440236196</c:v>
                </c:pt>
                <c:pt idx="67">
                  <c:v>223.825533724247</c:v>
                </c:pt>
                <c:pt idx="68">
                  <c:v>232.123242346672</c:v>
                </c:pt>
                <c:pt idx="69">
                  <c:v>223.419608338864</c:v>
                </c:pt>
                <c:pt idx="70">
                  <c:v>235.659258259044</c:v>
                </c:pt>
                <c:pt idx="71">
                  <c:v>245.48322717744</c:v>
                </c:pt>
                <c:pt idx="72">
                  <c:v>236.928268878464</c:v>
                </c:pt>
                <c:pt idx="73">
                  <c:v>231.162117333624</c:v>
                </c:pt>
                <c:pt idx="74">
                  <c:v>226.649893365281</c:v>
                </c:pt>
                <c:pt idx="75">
                  <c:v>227.37040793167</c:v>
                </c:pt>
                <c:pt idx="76">
                  <c:v>236.69101021912</c:v>
                </c:pt>
                <c:pt idx="77">
                  <c:v>243.464134439232</c:v>
                </c:pt>
                <c:pt idx="78">
                  <c:v>252.43806615279</c:v>
                </c:pt>
                <c:pt idx="79">
                  <c:v>260.170400078911</c:v>
                </c:pt>
                <c:pt idx="80">
                  <c:v>254.180875850756</c:v>
                </c:pt>
                <c:pt idx="81">
                  <c:v>259.235969657706</c:v>
                </c:pt>
                <c:pt idx="82">
                  <c:v>252.122040491506</c:v>
                </c:pt>
                <c:pt idx="83">
                  <c:v>266.212116423854</c:v>
                </c:pt>
                <c:pt idx="84">
                  <c:v>287.326102091612</c:v>
                </c:pt>
                <c:pt idx="85">
                  <c:v>287.374822714393</c:v>
                </c:pt>
                <c:pt idx="86">
                  <c:v>291.150371713214</c:v>
                </c:pt>
                <c:pt idx="87">
                  <c:v>295.69922592866</c:v>
                </c:pt>
                <c:pt idx="88">
                  <c:v>299.372306000944</c:v>
                </c:pt>
                <c:pt idx="89">
                  <c:v>299.440538814176</c:v>
                </c:pt>
                <c:pt idx="90">
                  <c:v>319.622847314596</c:v>
                </c:pt>
                <c:pt idx="91">
                  <c:v>332.34766844886</c:v>
                </c:pt>
                <c:pt idx="92">
                  <c:v>336.852949429191</c:v>
                </c:pt>
                <c:pt idx="93">
                  <c:v>344.496221578041</c:v>
                </c:pt>
                <c:pt idx="94">
                  <c:v>323.41647202359</c:v>
                </c:pt>
                <c:pt idx="95">
                  <c:v>322.57565223387</c:v>
                </c:pt>
                <c:pt idx="96">
                  <c:v>316.064446251218</c:v>
                </c:pt>
                <c:pt idx="97">
                  <c:v>314.644964322619</c:v>
                </c:pt>
                <c:pt idx="98">
                  <c:v>296.44858980731</c:v>
                </c:pt>
                <c:pt idx="99">
                  <c:v>315.123791082139</c:v>
                </c:pt>
                <c:pt idx="100">
                  <c:v>326.090120942063</c:v>
                </c:pt>
                <c:pt idx="101">
                  <c:v>332.352576423145</c:v>
                </c:pt>
              </c:numCache>
            </c:numRef>
          </c:val>
          <c:smooth val="0"/>
        </c:ser>
        <c:ser>
          <c:idx val="1"/>
          <c:order val="1"/>
          <c:tx>
            <c:strRef>
              <c:f>Sheet1!$C$1</c:f>
              <c:strCache>
                <c:ptCount val="1"/>
                <c:pt idx="0">
                  <c:v>Nifty 50 TRI</c:v>
                </c:pt>
              </c:strCache>
            </c:strRef>
          </c:tx>
          <c:spPr>
            <a:ln w="12700" cap="rnd">
              <a:solidFill>
                <a:srgbClr val="C00000"/>
              </a:solidFill>
              <a:round/>
            </a:ln>
            <a:effectLst/>
          </c:spPr>
          <c:marker>
            <c:symbol val="none"/>
          </c:marker>
          <c:dLbls>
            <c:delete val="1"/>
          </c:dLbls>
          <c:cat>
            <c:numRef>
              <c:f>Sheet1!$A$2:$A$103</c:f>
              <c:numCache>
                <c:formatCode>mmm/yy</c:formatCode>
                <c:ptCount val="102"/>
                <c:pt idx="0" c:formatCode="mmm/yy">
                  <c:v>42735</c:v>
                </c:pt>
                <c:pt idx="1" c:formatCode="mmm/yy">
                  <c:v>42766</c:v>
                </c:pt>
                <c:pt idx="2" c:formatCode="mmm/yy">
                  <c:v>42794</c:v>
                </c:pt>
                <c:pt idx="3" c:formatCode="mmm/yy">
                  <c:v>42825</c:v>
                </c:pt>
                <c:pt idx="4" c:formatCode="mmm/yy">
                  <c:v>42855</c:v>
                </c:pt>
                <c:pt idx="5" c:formatCode="mmm/yy">
                  <c:v>42886</c:v>
                </c:pt>
                <c:pt idx="6" c:formatCode="mmm/yy">
                  <c:v>42916</c:v>
                </c:pt>
                <c:pt idx="7" c:formatCode="mmm/yy">
                  <c:v>42947</c:v>
                </c:pt>
                <c:pt idx="8" c:formatCode="mmm/yy">
                  <c:v>42978</c:v>
                </c:pt>
                <c:pt idx="9" c:formatCode="mmm/yy">
                  <c:v>43008</c:v>
                </c:pt>
                <c:pt idx="10" c:formatCode="mmm/yy">
                  <c:v>43039</c:v>
                </c:pt>
                <c:pt idx="11" c:formatCode="mmm/yy">
                  <c:v>43069</c:v>
                </c:pt>
                <c:pt idx="12" c:formatCode="mmm/yy">
                  <c:v>43100</c:v>
                </c:pt>
                <c:pt idx="13" c:formatCode="mmm/yy">
                  <c:v>43131</c:v>
                </c:pt>
                <c:pt idx="14" c:formatCode="mmm/yy">
                  <c:v>43159</c:v>
                </c:pt>
                <c:pt idx="15" c:formatCode="mmm/yy">
                  <c:v>43190</c:v>
                </c:pt>
                <c:pt idx="16" c:formatCode="mmm/yy">
                  <c:v>43220</c:v>
                </c:pt>
                <c:pt idx="17" c:formatCode="mmm/yy">
                  <c:v>43251</c:v>
                </c:pt>
                <c:pt idx="18" c:formatCode="mmm/yy">
                  <c:v>43281</c:v>
                </c:pt>
                <c:pt idx="19" c:formatCode="mmm/yy">
                  <c:v>43312</c:v>
                </c:pt>
                <c:pt idx="20" c:formatCode="mmm/yy">
                  <c:v>43343</c:v>
                </c:pt>
                <c:pt idx="21" c:formatCode="mmm/yy">
                  <c:v>43373</c:v>
                </c:pt>
                <c:pt idx="22" c:formatCode="mmm/yy">
                  <c:v>43404</c:v>
                </c:pt>
                <c:pt idx="23" c:formatCode="mmm/yy">
                  <c:v>43434</c:v>
                </c:pt>
                <c:pt idx="24" c:formatCode="mmm/yy">
                  <c:v>43465</c:v>
                </c:pt>
                <c:pt idx="25" c:formatCode="mmm/yy">
                  <c:v>43496</c:v>
                </c:pt>
                <c:pt idx="26" c:formatCode="mmm/yy">
                  <c:v>43524</c:v>
                </c:pt>
                <c:pt idx="27" c:formatCode="mmm/yy">
                  <c:v>43555</c:v>
                </c:pt>
                <c:pt idx="28" c:formatCode="mmm/yy">
                  <c:v>43585</c:v>
                </c:pt>
                <c:pt idx="29" c:formatCode="mmm/yy">
                  <c:v>43616</c:v>
                </c:pt>
                <c:pt idx="30" c:formatCode="mmm/yy">
                  <c:v>43646</c:v>
                </c:pt>
                <c:pt idx="31" c:formatCode="mmm/yy">
                  <c:v>43677</c:v>
                </c:pt>
                <c:pt idx="32" c:formatCode="mmm/yy">
                  <c:v>43708</c:v>
                </c:pt>
                <c:pt idx="33" c:formatCode="mmm/yy">
                  <c:v>43738</c:v>
                </c:pt>
                <c:pt idx="34" c:formatCode="mmm/yy">
                  <c:v>43769</c:v>
                </c:pt>
                <c:pt idx="35" c:formatCode="mmm/yy">
                  <c:v>43799</c:v>
                </c:pt>
                <c:pt idx="36" c:formatCode="mmm/yy">
                  <c:v>43830</c:v>
                </c:pt>
                <c:pt idx="37" c:formatCode="mmm/yy">
                  <c:v>43861</c:v>
                </c:pt>
                <c:pt idx="38" c:formatCode="mmm/yy">
                  <c:v>43890</c:v>
                </c:pt>
                <c:pt idx="39" c:formatCode="mmm/yy">
                  <c:v>43921</c:v>
                </c:pt>
                <c:pt idx="40" c:formatCode="mmm/yy">
                  <c:v>43951</c:v>
                </c:pt>
                <c:pt idx="41" c:formatCode="mmm/yy">
                  <c:v>43982</c:v>
                </c:pt>
                <c:pt idx="42" c:formatCode="mmm/yy">
                  <c:v>44012</c:v>
                </c:pt>
                <c:pt idx="43" c:formatCode="mmm/yy">
                  <c:v>44043</c:v>
                </c:pt>
                <c:pt idx="44" c:formatCode="mmm/yy">
                  <c:v>44074</c:v>
                </c:pt>
                <c:pt idx="45" c:formatCode="mmm/yy">
                  <c:v>44104</c:v>
                </c:pt>
                <c:pt idx="46" c:formatCode="mmm/yy">
                  <c:v>44135</c:v>
                </c:pt>
                <c:pt idx="47" c:formatCode="mmm/yy">
                  <c:v>44165</c:v>
                </c:pt>
                <c:pt idx="48" c:formatCode="mmm/yy">
                  <c:v>44196</c:v>
                </c:pt>
                <c:pt idx="49" c:formatCode="mmm/yy">
                  <c:v>44227</c:v>
                </c:pt>
                <c:pt idx="50" c:formatCode="mmm/yy">
                  <c:v>44255</c:v>
                </c:pt>
                <c:pt idx="51" c:formatCode="mmm/yy">
                  <c:v>44286</c:v>
                </c:pt>
                <c:pt idx="52" c:formatCode="mmm/yy">
                  <c:v>44316</c:v>
                </c:pt>
                <c:pt idx="53" c:formatCode="mmm/yy">
                  <c:v>44347</c:v>
                </c:pt>
                <c:pt idx="54" c:formatCode="mmm/yy">
                  <c:v>44377</c:v>
                </c:pt>
                <c:pt idx="55" c:formatCode="mmm/yy">
                  <c:v>44408</c:v>
                </c:pt>
                <c:pt idx="56" c:formatCode="mmm/yy">
                  <c:v>44439</c:v>
                </c:pt>
                <c:pt idx="57" c:formatCode="mmm/yy">
                  <c:v>44469</c:v>
                </c:pt>
                <c:pt idx="58" c:formatCode="mmm/yy">
                  <c:v>44500</c:v>
                </c:pt>
                <c:pt idx="59" c:formatCode="mmm/yy">
                  <c:v>44530</c:v>
                </c:pt>
                <c:pt idx="60" c:formatCode="mmm/yy">
                  <c:v>44561</c:v>
                </c:pt>
                <c:pt idx="61" c:formatCode="mmm/yy">
                  <c:v>44592</c:v>
                </c:pt>
                <c:pt idx="62" c:formatCode="mmm/yy">
                  <c:v>44620</c:v>
                </c:pt>
                <c:pt idx="63" c:formatCode="mmm/yy">
                  <c:v>44651</c:v>
                </c:pt>
                <c:pt idx="64" c:formatCode="mmm/yy">
                  <c:v>44681</c:v>
                </c:pt>
                <c:pt idx="65" c:formatCode="mmm/yy">
                  <c:v>44712</c:v>
                </c:pt>
                <c:pt idx="66" c:formatCode="mmm/yy">
                  <c:v>44742</c:v>
                </c:pt>
                <c:pt idx="67" c:formatCode="mmm/yy">
                  <c:v>44773</c:v>
                </c:pt>
                <c:pt idx="68" c:formatCode="mmm/yy">
                  <c:v>44804</c:v>
                </c:pt>
                <c:pt idx="69" c:formatCode="mmm/yy">
                  <c:v>44834</c:v>
                </c:pt>
                <c:pt idx="70" c:formatCode="mmm/yy">
                  <c:v>44865</c:v>
                </c:pt>
                <c:pt idx="71" c:formatCode="mmm/yy">
                  <c:v>44895</c:v>
                </c:pt>
                <c:pt idx="72" c:formatCode="mmm/yy">
                  <c:v>44926</c:v>
                </c:pt>
                <c:pt idx="73" c:formatCode="mmm/yy">
                  <c:v>44957</c:v>
                </c:pt>
                <c:pt idx="74" c:formatCode="mmm/yy">
                  <c:v>44985</c:v>
                </c:pt>
                <c:pt idx="75" c:formatCode="mmm/yy">
                  <c:v>45016</c:v>
                </c:pt>
                <c:pt idx="76" c:formatCode="mmm/yy">
                  <c:v>45046</c:v>
                </c:pt>
                <c:pt idx="77" c:formatCode="mmm/yy">
                  <c:v>45077</c:v>
                </c:pt>
                <c:pt idx="78" c:formatCode="mmm/yy">
                  <c:v>45107</c:v>
                </c:pt>
                <c:pt idx="79" c:formatCode="mmm/yy">
                  <c:v>45138</c:v>
                </c:pt>
                <c:pt idx="80" c:formatCode="mmm/yy">
                  <c:v>45169</c:v>
                </c:pt>
                <c:pt idx="81" c:formatCode="mmm/yy">
                  <c:v>45199</c:v>
                </c:pt>
                <c:pt idx="82" c:formatCode="mmm/yy">
                  <c:v>45230</c:v>
                </c:pt>
                <c:pt idx="83" c:formatCode="mmm/yy">
                  <c:v>45260</c:v>
                </c:pt>
                <c:pt idx="84" c:formatCode="mmm/yy">
                  <c:v>45291</c:v>
                </c:pt>
                <c:pt idx="85" c:formatCode="mmm/yy">
                  <c:v>45322</c:v>
                </c:pt>
                <c:pt idx="86" c:formatCode="mmm/yy">
                  <c:v>45351</c:v>
                </c:pt>
                <c:pt idx="87" c:formatCode="mmm/yy">
                  <c:v>45382</c:v>
                </c:pt>
                <c:pt idx="88" c:formatCode="mmm/yy">
                  <c:v>45412</c:v>
                </c:pt>
                <c:pt idx="89" c:formatCode="mmm/yy">
                  <c:v>45443</c:v>
                </c:pt>
                <c:pt idx="90" c:formatCode="mmm/yy">
                  <c:v>45473</c:v>
                </c:pt>
                <c:pt idx="91" c:formatCode="mmm/yy">
                  <c:v>45504</c:v>
                </c:pt>
                <c:pt idx="92" c:formatCode="mmm/yy">
                  <c:v>45535</c:v>
                </c:pt>
                <c:pt idx="93" c:formatCode="mmm/yy">
                  <c:v>45565</c:v>
                </c:pt>
                <c:pt idx="94" c:formatCode="mmm/yy">
                  <c:v>45596</c:v>
                </c:pt>
                <c:pt idx="95" c:formatCode="mmm/yy">
                  <c:v>45626</c:v>
                </c:pt>
                <c:pt idx="96" c:formatCode="mmm/yy">
                  <c:v>45657</c:v>
                </c:pt>
                <c:pt idx="97" c:formatCode="mmm/yy">
                  <c:v>45688</c:v>
                </c:pt>
                <c:pt idx="98" c:formatCode="mmm/yy">
                  <c:v>45716</c:v>
                </c:pt>
                <c:pt idx="99" c:formatCode="mmm/yy">
                  <c:v>45747</c:v>
                </c:pt>
                <c:pt idx="100" c:formatCode="mmm/yy">
                  <c:v>45777</c:v>
                </c:pt>
                <c:pt idx="101" c:formatCode="mmm/yy">
                  <c:v>45808</c:v>
                </c:pt>
              </c:numCache>
            </c:numRef>
          </c:cat>
          <c:val>
            <c:numRef>
              <c:f>Sheet1!$C$2:$C$103</c:f>
              <c:numCache>
                <c:formatCode>#,##0.0</c:formatCode>
                <c:ptCount val="102"/>
                <c:pt idx="0">
                  <c:v>100</c:v>
                </c:pt>
                <c:pt idx="1">
                  <c:v>104.598923409547</c:v>
                </c:pt>
                <c:pt idx="2">
                  <c:v>108.605024632237</c:v>
                </c:pt>
                <c:pt idx="3">
                  <c:v>112.375265049033</c:v>
                </c:pt>
                <c:pt idx="4">
                  <c:v>113.971129695365</c:v>
                </c:pt>
                <c:pt idx="5">
                  <c:v>117.91853744562</c:v>
                </c:pt>
                <c:pt idx="6">
                  <c:v>117.136320118546</c:v>
                </c:pt>
                <c:pt idx="7">
                  <c:v>124.308698680574</c:v>
                </c:pt>
                <c:pt idx="8">
                  <c:v>122.468549628139</c:v>
                </c:pt>
                <c:pt idx="9">
                  <c:v>120.937447069448</c:v>
                </c:pt>
                <c:pt idx="10">
                  <c:v>127.790091128862</c:v>
                </c:pt>
                <c:pt idx="11">
                  <c:v>126.504178739739</c:v>
                </c:pt>
                <c:pt idx="12">
                  <c:v>130.266176709017</c:v>
                </c:pt>
                <c:pt idx="13">
                  <c:v>136.460693035856</c:v>
                </c:pt>
                <c:pt idx="14">
                  <c:v>130.05594900914</c:v>
                </c:pt>
                <c:pt idx="15">
                  <c:v>125.589267065263</c:v>
                </c:pt>
                <c:pt idx="16">
                  <c:v>133.358453173387</c:v>
                </c:pt>
                <c:pt idx="17">
                  <c:v>133.602465850453</c:v>
                </c:pt>
                <c:pt idx="18">
                  <c:v>133.63552621687</c:v>
                </c:pt>
                <c:pt idx="19">
                  <c:v>141.955507087146</c:v>
                </c:pt>
                <c:pt idx="20">
                  <c:v>146.222015305591</c:v>
                </c:pt>
                <c:pt idx="21">
                  <c:v>136.897814483339</c:v>
                </c:pt>
                <c:pt idx="22">
                  <c:v>130.225055047774</c:v>
                </c:pt>
                <c:pt idx="23">
                  <c:v>136.402271292461</c:v>
                </c:pt>
                <c:pt idx="24">
                  <c:v>136.308162468604</c:v>
                </c:pt>
                <c:pt idx="25">
                  <c:v>135.97629073558</c:v>
                </c:pt>
                <c:pt idx="26">
                  <c:v>135.677841674358</c:v>
                </c:pt>
                <c:pt idx="27">
                  <c:v>146.245565155642</c:v>
                </c:pt>
                <c:pt idx="28">
                  <c:v>147.808460011902</c:v>
                </c:pt>
                <c:pt idx="29">
                  <c:v>150.206921663235</c:v>
                </c:pt>
                <c:pt idx="30">
                  <c:v>148.851808945501</c:v>
                </c:pt>
                <c:pt idx="31">
                  <c:v>140.750479375313</c:v>
                </c:pt>
                <c:pt idx="32">
                  <c:v>139.854135851839</c:v>
                </c:pt>
                <c:pt idx="33">
                  <c:v>145.578832670164</c:v>
                </c:pt>
                <c:pt idx="34">
                  <c:v>150.966223174683</c:v>
                </c:pt>
                <c:pt idx="35">
                  <c:v>153.2360664142</c:v>
                </c:pt>
                <c:pt idx="36">
                  <c:v>154.677770119045</c:v>
                </c:pt>
                <c:pt idx="37">
                  <c:v>152.081761456323</c:v>
                </c:pt>
                <c:pt idx="38">
                  <c:v>142.448695293019</c:v>
                </c:pt>
                <c:pt idx="39">
                  <c:v>109.648645294876</c:v>
                </c:pt>
                <c:pt idx="40">
                  <c:v>125.757829645819</c:v>
                </c:pt>
                <c:pt idx="41">
                  <c:v>122.309316411257</c:v>
                </c:pt>
                <c:pt idx="42">
                  <c:v>131.58188871609</c:v>
                </c:pt>
                <c:pt idx="43">
                  <c:v>141.7097734595</c:v>
                </c:pt>
                <c:pt idx="44">
                  <c:v>145.919128003399</c:v>
                </c:pt>
                <c:pt idx="45">
                  <c:v>144.167834346732</c:v>
                </c:pt>
                <c:pt idx="46">
                  <c:v>149.488651236684</c:v>
                </c:pt>
                <c:pt idx="47">
                  <c:v>166.592907328623</c:v>
                </c:pt>
                <c:pt idx="48">
                  <c:v>179.641788665457</c:v>
                </c:pt>
                <c:pt idx="49">
                  <c:v>175.229271376697</c:v>
                </c:pt>
                <c:pt idx="50">
                  <c:v>186.993780122296</c:v>
                </c:pt>
                <c:pt idx="51">
                  <c:v>189.182466955485</c:v>
                </c:pt>
                <c:pt idx="52">
                  <c:v>188.499611880356</c:v>
                </c:pt>
                <c:pt idx="53">
                  <c:v>201.112005804133</c:v>
                </c:pt>
                <c:pt idx="54">
                  <c:v>203.395526071949</c:v>
                </c:pt>
                <c:pt idx="55">
                  <c:v>204.288246541569</c:v>
                </c:pt>
                <c:pt idx="56">
                  <c:v>222.144920342632</c:v>
                </c:pt>
                <c:pt idx="57">
                  <c:v>228.56551522996</c:v>
                </c:pt>
                <c:pt idx="58">
                  <c:v>229.527979486269</c:v>
                </c:pt>
                <c:pt idx="59">
                  <c:v>220.721241330712</c:v>
                </c:pt>
                <c:pt idx="60">
                  <c:v>225.613994407817</c:v>
                </c:pt>
                <c:pt idx="61">
                  <c:v>225.48637233581</c:v>
                </c:pt>
                <c:pt idx="62">
                  <c:v>218.769139914188</c:v>
                </c:pt>
                <c:pt idx="63">
                  <c:v>227.510934829413</c:v>
                </c:pt>
                <c:pt idx="64">
                  <c:v>222.879222782487</c:v>
                </c:pt>
                <c:pt idx="65">
                  <c:v>217.003716347491</c:v>
                </c:pt>
                <c:pt idx="66">
                  <c:v>206.776107046749</c:v>
                </c:pt>
                <c:pt idx="67">
                  <c:v>225.197252638263</c:v>
                </c:pt>
                <c:pt idx="68">
                  <c:v>233.565510701143</c:v>
                </c:pt>
                <c:pt idx="69">
                  <c:v>224.820273884756</c:v>
                </c:pt>
                <c:pt idx="70">
                  <c:v>237.150250760615</c:v>
                </c:pt>
                <c:pt idx="71">
                  <c:v>247.056132879123</c:v>
                </c:pt>
                <c:pt idx="72">
                  <c:v>238.454640724394</c:v>
                </c:pt>
                <c:pt idx="73">
                  <c:v>232.653859775135</c:v>
                </c:pt>
                <c:pt idx="74">
                  <c:v>228.111727734749</c:v>
                </c:pt>
                <c:pt idx="75">
                  <c:v>228.850740144614</c:v>
                </c:pt>
                <c:pt idx="76">
                  <c:v>238.242239192204</c:v>
                </c:pt>
                <c:pt idx="77">
                  <c:v>245.076405676963</c:v>
                </c:pt>
                <c:pt idx="78">
                  <c:v>254.154057684452</c:v>
                </c:pt>
                <c:pt idx="79">
                  <c:v>261.860112079171</c:v>
                </c:pt>
                <c:pt idx="80">
                  <c:v>255.821477644399</c:v>
                </c:pt>
                <c:pt idx="81">
                  <c:v>260.930255307548</c:v>
                </c:pt>
                <c:pt idx="82">
                  <c:v>253.77101031574</c:v>
                </c:pt>
                <c:pt idx="83">
                  <c:v>267.973381423335</c:v>
                </c:pt>
                <c:pt idx="84">
                  <c:v>289.245870397929</c:v>
                </c:pt>
                <c:pt idx="85">
                  <c:v>289.297136609963</c:v>
                </c:pt>
                <c:pt idx="86">
                  <c:v>293.107321195499</c:v>
                </c:pt>
                <c:pt idx="87">
                  <c:v>297.699360802724</c:v>
                </c:pt>
                <c:pt idx="88">
                  <c:v>301.405563742651</c:v>
                </c:pt>
                <c:pt idx="89">
                  <c:v>301.491520695337</c:v>
                </c:pt>
                <c:pt idx="90">
                  <c:v>321.900726512874</c:v>
                </c:pt>
                <c:pt idx="91">
                  <c:v>334.76546613758</c:v>
                </c:pt>
                <c:pt idx="92">
                  <c:v>339.314663132982</c:v>
                </c:pt>
                <c:pt idx="93">
                  <c:v>347.045173141215</c:v>
                </c:pt>
                <c:pt idx="94">
                  <c:v>325.813443522478</c:v>
                </c:pt>
                <c:pt idx="95">
                  <c:v>324.97724269298</c:v>
                </c:pt>
                <c:pt idx="96">
                  <c:v>318.428119970183</c:v>
                </c:pt>
                <c:pt idx="97">
                  <c:v>316.999187530174</c:v>
                </c:pt>
                <c:pt idx="98">
                  <c:v>298.660647566531</c:v>
                </c:pt>
                <c:pt idx="99">
                  <c:v>317.507049104155</c:v>
                </c:pt>
                <c:pt idx="100">
                  <c:v>328.56451889015</c:v>
                </c:pt>
                <c:pt idx="101">
                  <c:v>334.883396540527</c:v>
                </c:pt>
              </c:numCache>
            </c:numRef>
          </c:val>
          <c:smooth val="0"/>
        </c:ser>
        <c:dLbls>
          <c:showLegendKey val="0"/>
          <c:showVal val="0"/>
          <c:showCatName val="0"/>
          <c:showSerName val="0"/>
          <c:showPercent val="0"/>
          <c:showBubbleSize val="0"/>
        </c:dLbls>
        <c:marker val="0"/>
        <c:smooth val="0"/>
        <c:axId val="1172110303"/>
        <c:axId val="1301341519"/>
      </c:lineChart>
      <c:dateAx>
        <c:axId val="1172110303"/>
        <c:scaling>
          <c:orientation val="minMax"/>
          <c:max val="45808"/>
          <c:min val="42705"/>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GB"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crossAx val="1301341519"/>
        <c:crosses val="autoZero"/>
        <c:auto val="1"/>
        <c:lblOffset val="100"/>
        <c:baseTimeUnit val="months"/>
        <c:majorUnit val="9"/>
        <c:majorTimeUnit val="months"/>
      </c:dateAx>
      <c:valAx>
        <c:axId val="1301341519"/>
        <c:scaling>
          <c:orientation val="minMax"/>
          <c:min val="100"/>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lang="en-GB"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crossAx val="1172110303"/>
        <c:crosses val="autoZero"/>
        <c:crossBetween val="midCat"/>
        <c:majorUnit val="75"/>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en-GB" sz="9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p>
      </c:txPr>
    </c:legend>
    <c:plotVisOnly val="1"/>
    <c:dispBlanksAs val="gap"/>
    <c:showDLblsOverMax val="0"/>
    <c:extLst>
      <c:ext uri="{0b15fc19-7d7d-44ad-8c2d-2c3a37ce22c3}">
        <chartProps xmlns="https://web.wps.cn/et/2018/main" chartId="{53c58f15-a1bd-4a95-a47b-e2fafb9f9455}"/>
      </c:ext>
    </c:extLst>
  </c:chart>
  <c:spPr>
    <a:noFill/>
    <a:ln>
      <a:noFill/>
    </a:ln>
    <a:effectLst/>
  </c:spPr>
  <c:txPr>
    <a:bodyPr/>
    <a:lstStyle/>
    <a:p>
      <a:pPr>
        <a:defRPr lang="en-GB" sz="900">
          <a:latin typeface="Calibri" panose="020F0502020204030204" pitchFamily="34" charset="0"/>
          <a:cs typeface="Calibri" panose="020F0502020204030204" pitchFamily="34" charset="0"/>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8A0F5997-B1DC-41AB-8DC2-0D5B043C49DC}" type="doc">
      <dgm:prSet loTypeId="urn:microsoft.com/office/officeart/2005/8/layout/hList9" loCatId="list" qsTypeId="urn:microsoft.com/office/officeart/2005/8/quickstyle/simple1" qsCatId="simple" csTypeId="urn:microsoft.com/office/officeart/2005/8/colors/accent1_2" csCatId="accent1" phldr="1"/>
      <dgm:spPr/>
      <dgm:t>
        <a:bodyPr/>
        <a:lstStyle/>
        <a:p>
          <a:endParaRPr lang="en-US"/>
        </a:p>
      </dgm:t>
    </dgm:pt>
    <dgm:pt modelId="{19B3EFC4-8A78-4741-9B76-F07EB8DA755A}">
      <dgm:prSet phldrT="[Text]" custT="1"/>
      <dgm:spPr/>
      <dgm:t>
        <a:bodyPr/>
        <a:lstStyle/>
        <a:p>
          <a:r>
            <a:rPr lang="en-US" sz="900" dirty="0"/>
            <a:t>Asset Allocation*</a:t>
          </a:r>
        </a:p>
      </dgm:t>
    </dgm:pt>
    <dgm:pt modelId="{1E5786EF-00CB-4BAD-987D-F6A197BFB384}" cxnId="{C9DF8C9A-31DE-4F26-AAAD-EE9B4F7E5C4E}" type="parTrans">
      <dgm:prSet/>
      <dgm:spPr/>
      <dgm:t>
        <a:bodyPr/>
        <a:lstStyle/>
        <a:p>
          <a:endParaRPr lang="en-US" sz="900"/>
        </a:p>
      </dgm:t>
    </dgm:pt>
    <dgm:pt modelId="{52C64453-D836-40EA-804E-9CD600D5DB98}" cxnId="{C9DF8C9A-31DE-4F26-AAAD-EE9B4F7E5C4E}" type="sibTrans">
      <dgm:prSet/>
      <dgm:spPr/>
      <dgm:t>
        <a:bodyPr/>
        <a:lstStyle/>
        <a:p>
          <a:endParaRPr lang="en-US" sz="900"/>
        </a:p>
      </dgm:t>
    </dgm:pt>
    <dgm:pt modelId="{ABB36983-0F4F-4148-9DAB-5AE4B59D00BA}">
      <dgm:prSet phldrT="[Text]" custT="1"/>
      <dgm:spPr>
        <a:solidFill>
          <a:schemeClr val="bg1">
            <a:lumMod val="95000"/>
          </a:schemeClr>
        </a:solidFill>
      </dgm:spPr>
      <dgm:t>
        <a:bodyPr/>
        <a:lstStyle/>
        <a:p>
          <a:pPr algn="ctr"/>
          <a:r>
            <a:rPr lang="en-US" sz="900" b="1" dirty="0">
              <a:solidFill>
                <a:schemeClr val="tx1"/>
              </a:solidFill>
            </a:rPr>
            <a:t>Strategic &amp; Tactical Allocation</a:t>
          </a:r>
        </a:p>
      </dgm:t>
    </dgm:pt>
    <dgm:pt modelId="{8731CEFF-CA29-4B6B-B748-C3F3B407BCF4}" cxnId="{F67E009B-AB28-4DB8-94C6-65D1803ED0CE}" type="parTrans">
      <dgm:prSet/>
      <dgm:spPr/>
      <dgm:t>
        <a:bodyPr/>
        <a:lstStyle/>
        <a:p>
          <a:endParaRPr lang="en-US" sz="900"/>
        </a:p>
      </dgm:t>
    </dgm:pt>
    <dgm:pt modelId="{A2967654-248E-44D8-B612-DC295AF15119}" cxnId="{F67E009B-AB28-4DB8-94C6-65D1803ED0CE}" type="sibTrans">
      <dgm:prSet/>
      <dgm:spPr/>
      <dgm:t>
        <a:bodyPr/>
        <a:lstStyle/>
        <a:p>
          <a:endParaRPr lang="en-US" sz="900"/>
        </a:p>
      </dgm:t>
    </dgm:pt>
    <dgm:pt modelId="{75EF618C-BDB1-4E9F-990B-A89F26180E70}">
      <dgm:prSet phldrT="[Text]" custT="1"/>
      <dgm:spPr/>
      <dgm:t>
        <a:bodyPr/>
        <a:lstStyle/>
        <a:p>
          <a:r>
            <a:rPr lang="en-US" sz="900" dirty="0"/>
            <a:t>Category Allocation</a:t>
          </a:r>
        </a:p>
      </dgm:t>
    </dgm:pt>
    <dgm:pt modelId="{CEAB8718-954F-4280-8360-025A1132AA4B}" cxnId="{69A362BA-2CB5-4F75-A995-3D8B14C7EE2B}" type="parTrans">
      <dgm:prSet/>
      <dgm:spPr/>
      <dgm:t>
        <a:bodyPr/>
        <a:lstStyle/>
        <a:p>
          <a:endParaRPr lang="en-US" sz="900"/>
        </a:p>
      </dgm:t>
    </dgm:pt>
    <dgm:pt modelId="{294DA2E7-12C7-4CC5-9129-6BA18309DFBA}" cxnId="{69A362BA-2CB5-4F75-A995-3D8B14C7EE2B}" type="sibTrans">
      <dgm:prSet/>
      <dgm:spPr/>
      <dgm:t>
        <a:bodyPr/>
        <a:lstStyle/>
        <a:p>
          <a:endParaRPr lang="en-US" sz="900"/>
        </a:p>
      </dgm:t>
    </dgm:pt>
    <dgm:pt modelId="{E9B051F2-D8AE-4C48-A067-686EB24C04AB}">
      <dgm:prSet phldrT="[Text]" custT="1"/>
      <dgm:spPr>
        <a:solidFill>
          <a:schemeClr val="bg1"/>
        </a:solidFill>
      </dgm:spPr>
      <dgm:t>
        <a:bodyPr/>
        <a:lstStyle/>
        <a:p>
          <a:pPr algn="ctr"/>
          <a:r>
            <a:rPr lang="en-US" sz="900" dirty="0"/>
            <a:t>Allocation to Large/Mid/Small</a:t>
          </a:r>
        </a:p>
      </dgm:t>
    </dgm:pt>
    <dgm:pt modelId="{F3861BD3-033C-44D7-9EC0-BC2C8295FE67}" cxnId="{58FC7C8C-960D-49A8-B208-B7EF779187E8}" type="parTrans">
      <dgm:prSet/>
      <dgm:spPr/>
      <dgm:t>
        <a:bodyPr/>
        <a:lstStyle/>
        <a:p>
          <a:endParaRPr lang="en-US" sz="900"/>
        </a:p>
      </dgm:t>
    </dgm:pt>
    <dgm:pt modelId="{84996215-3488-462C-93A0-C1A816C80671}" cxnId="{58FC7C8C-960D-49A8-B208-B7EF779187E8}" type="sibTrans">
      <dgm:prSet/>
      <dgm:spPr/>
      <dgm:t>
        <a:bodyPr/>
        <a:lstStyle/>
        <a:p>
          <a:endParaRPr lang="en-US" sz="900"/>
        </a:p>
      </dgm:t>
    </dgm:pt>
    <dgm:pt modelId="{825551D9-81BD-4418-9747-E185E71DB630}">
      <dgm:prSet phldrT="[Text]" custT="1"/>
      <dgm:spPr>
        <a:solidFill>
          <a:schemeClr val="bg1">
            <a:alpha val="90000"/>
          </a:schemeClr>
        </a:solidFill>
      </dgm:spPr>
      <dgm:t>
        <a:bodyPr/>
        <a:lstStyle/>
        <a:p>
          <a:pPr algn="ctr"/>
          <a:r>
            <a:rPr lang="en-US" sz="900" dirty="0"/>
            <a:t>Valuation Differentials, Stance on Markets, and Econometric Model </a:t>
          </a:r>
        </a:p>
      </dgm:t>
    </dgm:pt>
    <dgm:pt modelId="{DB6905B0-3CBC-4687-862D-74DBB0482919}" cxnId="{004ADA0D-0CC2-4415-BEE8-9E6995270A0F}" type="parTrans">
      <dgm:prSet/>
      <dgm:spPr/>
      <dgm:t>
        <a:bodyPr/>
        <a:lstStyle/>
        <a:p>
          <a:endParaRPr lang="en-US" sz="900"/>
        </a:p>
      </dgm:t>
    </dgm:pt>
    <dgm:pt modelId="{DEC0E6B0-95B6-42E1-A0AB-C07A986163FB}" cxnId="{004ADA0D-0CC2-4415-BEE8-9E6995270A0F}" type="sibTrans">
      <dgm:prSet/>
      <dgm:spPr/>
      <dgm:t>
        <a:bodyPr/>
        <a:lstStyle/>
        <a:p>
          <a:endParaRPr lang="en-US" sz="900"/>
        </a:p>
      </dgm:t>
    </dgm:pt>
    <dgm:pt modelId="{DBEECD9E-7D48-4A73-9541-BB91E82703A6}">
      <dgm:prSet custT="1"/>
      <dgm:spPr>
        <a:solidFill>
          <a:schemeClr val="bg1">
            <a:alpha val="90000"/>
          </a:schemeClr>
        </a:solidFill>
      </dgm:spPr>
      <dgm:t>
        <a:bodyPr/>
        <a:lstStyle/>
        <a:p>
          <a:pPr marL="0" marR="0" lvl="0" indent="0" algn="ctr" defTabSz="914400" eaLnBrk="1" fontAlgn="auto" latinLnBrk="0" hangingPunct="1">
            <a:lnSpc>
              <a:spcPct val="100000"/>
            </a:lnSpc>
            <a:spcBef>
              <a:spcPts val="0"/>
            </a:spcBef>
            <a:spcAft>
              <a:spcPts val="0"/>
            </a:spcAft>
            <a:buClrTx/>
            <a:buSzTx/>
            <a:buFontTx/>
            <a:buNone/>
          </a:pPr>
          <a:r>
            <a:rPr lang="en-US" sz="900" dirty="0"/>
            <a:t>Risk Adjusted Returns, Efficient Frontier</a:t>
          </a:r>
        </a:p>
      </dgm:t>
    </dgm:pt>
    <dgm:pt modelId="{50E5293B-7546-4236-9EC9-513C5501CE7F}" cxnId="{D868E7F3-9A6F-4AB2-A9A4-0A05C5C80267}" type="parTrans">
      <dgm:prSet/>
      <dgm:spPr/>
      <dgm:t>
        <a:bodyPr/>
        <a:lstStyle/>
        <a:p>
          <a:endParaRPr lang="en-US" sz="900"/>
        </a:p>
      </dgm:t>
    </dgm:pt>
    <dgm:pt modelId="{A1D8706F-2805-490F-BD3F-92F31157AF77}" cxnId="{D868E7F3-9A6F-4AB2-A9A4-0A05C5C80267}" type="sibTrans">
      <dgm:prSet/>
      <dgm:spPr/>
      <dgm:t>
        <a:bodyPr/>
        <a:lstStyle/>
        <a:p>
          <a:endParaRPr lang="en-US" sz="900"/>
        </a:p>
      </dgm:t>
    </dgm:pt>
    <dgm:pt modelId="{15B4A616-5991-448F-951B-025D89439FCE}">
      <dgm:prSet custT="1"/>
      <dgm:spPr>
        <a:solidFill>
          <a:schemeClr val="bg1">
            <a:alpha val="90000"/>
          </a:schemeClr>
        </a:solidFill>
      </dgm:spPr>
      <dgm:t>
        <a:bodyPr/>
        <a:lstStyle/>
        <a:p>
          <a:pPr algn="ctr"/>
          <a:r>
            <a:rPr lang="en-US" sz="900" dirty="0"/>
            <a:t>CA Multi-factor Model &amp; Grid Based Assessment</a:t>
          </a:r>
        </a:p>
      </dgm:t>
    </dgm:pt>
    <dgm:pt modelId="{7FC58891-2644-4934-86E9-4BBD22D2BF48}" cxnId="{A6CB64AF-BB51-46E6-83EC-BEF436BF0CBB}" type="parTrans">
      <dgm:prSet/>
      <dgm:spPr/>
      <dgm:t>
        <a:bodyPr/>
        <a:lstStyle/>
        <a:p>
          <a:endParaRPr lang="en-US" sz="900"/>
        </a:p>
      </dgm:t>
    </dgm:pt>
    <dgm:pt modelId="{189142A6-0877-435D-A1EB-BFC565989DB3}" cxnId="{A6CB64AF-BB51-46E6-83EC-BEF436BF0CBB}" type="sibTrans">
      <dgm:prSet/>
      <dgm:spPr/>
      <dgm:t>
        <a:bodyPr/>
        <a:lstStyle/>
        <a:p>
          <a:endParaRPr lang="en-US" sz="900"/>
        </a:p>
      </dgm:t>
    </dgm:pt>
    <dgm:pt modelId="{3CB867DE-A6A6-4E62-BEA0-EE9C1128C065}">
      <dgm:prSet custT="1"/>
      <dgm:spPr>
        <a:solidFill>
          <a:schemeClr val="bg1">
            <a:lumMod val="95000"/>
            <a:alpha val="90000"/>
          </a:schemeClr>
        </a:solidFill>
      </dgm:spPr>
      <dgm:t>
        <a:bodyPr/>
        <a:lstStyle/>
        <a:p>
          <a:pPr algn="ctr"/>
          <a:r>
            <a:rPr lang="en-US" sz="900" b="1" dirty="0">
              <a:solidFill>
                <a:schemeClr val="tx1"/>
              </a:solidFill>
            </a:rPr>
            <a:t>Beta Management</a:t>
          </a:r>
        </a:p>
      </dgm:t>
    </dgm:pt>
    <dgm:pt modelId="{6DA3EAF2-F30B-4D8E-866C-01CB9FDC7461}" cxnId="{DEB98A42-F7C0-44D7-A718-4D5E9EFC5C86}" type="parTrans">
      <dgm:prSet/>
      <dgm:spPr/>
      <dgm:t>
        <a:bodyPr/>
        <a:lstStyle/>
        <a:p>
          <a:endParaRPr lang="en-US" sz="900"/>
        </a:p>
      </dgm:t>
    </dgm:pt>
    <dgm:pt modelId="{D2BB3FD3-6F4F-4906-BDC7-2A6CF08EE344}" cxnId="{DEB98A42-F7C0-44D7-A718-4D5E9EFC5C86}" type="sibTrans">
      <dgm:prSet/>
      <dgm:spPr/>
      <dgm:t>
        <a:bodyPr/>
        <a:lstStyle/>
        <a:p>
          <a:endParaRPr lang="en-US" sz="900"/>
        </a:p>
      </dgm:t>
    </dgm:pt>
    <dgm:pt modelId="{D827C44E-FCD4-4C0A-8AD8-90CD7E85E308}" type="pres">
      <dgm:prSet presAssocID="{8A0F5997-B1DC-41AB-8DC2-0D5B043C49DC}" presName="list" presStyleCnt="0">
        <dgm:presLayoutVars>
          <dgm:dir/>
          <dgm:animLvl val="lvl"/>
        </dgm:presLayoutVars>
      </dgm:prSet>
      <dgm:spPr/>
    </dgm:pt>
    <dgm:pt modelId="{59EE10B7-170A-40BE-A091-E90E7F3D9971}" type="pres">
      <dgm:prSet presAssocID="{19B3EFC4-8A78-4741-9B76-F07EB8DA755A}" presName="posSpace" presStyleCnt="0"/>
      <dgm:spPr/>
    </dgm:pt>
    <dgm:pt modelId="{CD03578D-B52C-4016-B7E7-B27CCA9A6C38}" type="pres">
      <dgm:prSet presAssocID="{19B3EFC4-8A78-4741-9B76-F07EB8DA755A}" presName="vertFlow" presStyleCnt="0"/>
      <dgm:spPr/>
    </dgm:pt>
    <dgm:pt modelId="{A48453A1-3BA8-4459-B16C-AE4FFF511469}" type="pres">
      <dgm:prSet presAssocID="{19B3EFC4-8A78-4741-9B76-F07EB8DA755A}" presName="topSpace" presStyleCnt="0"/>
      <dgm:spPr/>
    </dgm:pt>
    <dgm:pt modelId="{147DBEE5-FD45-4681-A5D4-94C5E701AC45}" type="pres">
      <dgm:prSet presAssocID="{19B3EFC4-8A78-4741-9B76-F07EB8DA755A}" presName="firstComp" presStyleCnt="0"/>
      <dgm:spPr/>
    </dgm:pt>
    <dgm:pt modelId="{676942FA-DB2A-4DE6-B1A7-2C4F33875B04}" type="pres">
      <dgm:prSet presAssocID="{19B3EFC4-8A78-4741-9B76-F07EB8DA755A}" presName="firstChild" presStyleLbl="bgAccFollowNode1" presStyleIdx="0" presStyleCnt="6"/>
      <dgm:spPr/>
    </dgm:pt>
    <dgm:pt modelId="{50836AAD-A6C5-4B70-BBD1-290237EAC5BC}" type="pres">
      <dgm:prSet presAssocID="{19B3EFC4-8A78-4741-9B76-F07EB8DA755A}" presName="firstChildTx" presStyleLbl="bgAccFollowNode1" presStyleIdx="0" presStyleCnt="6">
        <dgm:presLayoutVars>
          <dgm:bulletEnabled val="1"/>
        </dgm:presLayoutVars>
      </dgm:prSet>
      <dgm:spPr/>
    </dgm:pt>
    <dgm:pt modelId="{D3E6468D-7CCF-4BCE-AC94-DF8A2BD6B034}" type="pres">
      <dgm:prSet presAssocID="{ABB36983-0F4F-4148-9DAB-5AE4B59D00BA}" presName="comp" presStyleCnt="0"/>
      <dgm:spPr/>
    </dgm:pt>
    <dgm:pt modelId="{BB06E5AE-F59D-4E03-A17E-35530D11C49F}" type="pres">
      <dgm:prSet presAssocID="{ABB36983-0F4F-4148-9DAB-5AE4B59D00BA}" presName="child" presStyleLbl="bgAccFollowNode1" presStyleIdx="1" presStyleCnt="6"/>
      <dgm:spPr/>
    </dgm:pt>
    <dgm:pt modelId="{0F192443-75FB-445C-9163-2E2E0981CCB7}" type="pres">
      <dgm:prSet presAssocID="{ABB36983-0F4F-4148-9DAB-5AE4B59D00BA}" presName="childTx" presStyleLbl="bgAccFollowNode1" presStyleIdx="1" presStyleCnt="6">
        <dgm:presLayoutVars>
          <dgm:bulletEnabled val="1"/>
        </dgm:presLayoutVars>
      </dgm:prSet>
      <dgm:spPr/>
    </dgm:pt>
    <dgm:pt modelId="{23607819-17C9-4B58-9F03-10E60C42F555}" type="pres">
      <dgm:prSet presAssocID="{15B4A616-5991-448F-951B-025D89439FCE}" presName="comp" presStyleCnt="0"/>
      <dgm:spPr/>
    </dgm:pt>
    <dgm:pt modelId="{5F6F0EEC-FE4B-4A9D-9369-A703EFCFD1AC}" type="pres">
      <dgm:prSet presAssocID="{15B4A616-5991-448F-951B-025D89439FCE}" presName="child" presStyleLbl="bgAccFollowNode1" presStyleIdx="2" presStyleCnt="6"/>
      <dgm:spPr/>
    </dgm:pt>
    <dgm:pt modelId="{93F4E351-7064-49B0-BAE7-C8B05C462B8B}" type="pres">
      <dgm:prSet presAssocID="{15B4A616-5991-448F-951B-025D89439FCE}" presName="childTx" presStyleLbl="bgAccFollowNode1" presStyleIdx="2" presStyleCnt="6">
        <dgm:presLayoutVars>
          <dgm:bulletEnabled val="1"/>
        </dgm:presLayoutVars>
      </dgm:prSet>
      <dgm:spPr/>
    </dgm:pt>
    <dgm:pt modelId="{42441BD1-3404-4F89-9AA0-95F01DD1601E}" type="pres">
      <dgm:prSet presAssocID="{19B3EFC4-8A78-4741-9B76-F07EB8DA755A}" presName="negSpace" presStyleCnt="0"/>
      <dgm:spPr/>
    </dgm:pt>
    <dgm:pt modelId="{6A0AB1BF-176D-4912-A558-069CD2444DE2}" type="pres">
      <dgm:prSet presAssocID="{19B3EFC4-8A78-4741-9B76-F07EB8DA755A}" presName="circle" presStyleLbl="node1" presStyleIdx="0" presStyleCnt="2"/>
      <dgm:spPr/>
    </dgm:pt>
    <dgm:pt modelId="{72DF805D-8D69-4FEE-A9B9-C009AF17FAFE}" type="pres">
      <dgm:prSet presAssocID="{52C64453-D836-40EA-804E-9CD600D5DB98}" presName="transSpace" presStyleCnt="0"/>
      <dgm:spPr/>
    </dgm:pt>
    <dgm:pt modelId="{AF15A64F-F562-4639-9ADA-99EE58D5A701}" type="pres">
      <dgm:prSet presAssocID="{75EF618C-BDB1-4E9F-990B-A89F26180E70}" presName="posSpace" presStyleCnt="0"/>
      <dgm:spPr/>
    </dgm:pt>
    <dgm:pt modelId="{E00E17A5-1103-438A-87DA-7F0A35F3F580}" type="pres">
      <dgm:prSet presAssocID="{75EF618C-BDB1-4E9F-990B-A89F26180E70}" presName="vertFlow" presStyleCnt="0"/>
      <dgm:spPr/>
    </dgm:pt>
    <dgm:pt modelId="{72529487-0013-4D92-84AD-0F8A36B7CA15}" type="pres">
      <dgm:prSet presAssocID="{75EF618C-BDB1-4E9F-990B-A89F26180E70}" presName="topSpace" presStyleCnt="0"/>
      <dgm:spPr/>
    </dgm:pt>
    <dgm:pt modelId="{83A2E34B-F343-4852-8035-04799DF194A9}" type="pres">
      <dgm:prSet presAssocID="{75EF618C-BDB1-4E9F-990B-A89F26180E70}" presName="firstComp" presStyleCnt="0"/>
      <dgm:spPr/>
    </dgm:pt>
    <dgm:pt modelId="{1A05FC16-C614-4C98-8888-4C13A883B7A8}" type="pres">
      <dgm:prSet presAssocID="{75EF618C-BDB1-4E9F-990B-A89F26180E70}" presName="firstChild" presStyleLbl="bgAccFollowNode1" presStyleIdx="3" presStyleCnt="6"/>
      <dgm:spPr/>
    </dgm:pt>
    <dgm:pt modelId="{C3608531-6245-4DDE-BFA2-C072977A3ED6}" type="pres">
      <dgm:prSet presAssocID="{75EF618C-BDB1-4E9F-990B-A89F26180E70}" presName="firstChildTx" presStyleLbl="bgAccFollowNode1" presStyleIdx="3" presStyleCnt="6">
        <dgm:presLayoutVars>
          <dgm:bulletEnabled val="1"/>
        </dgm:presLayoutVars>
      </dgm:prSet>
      <dgm:spPr/>
    </dgm:pt>
    <dgm:pt modelId="{A38576A2-6846-4903-BE08-DE3B900E7ACA}" type="pres">
      <dgm:prSet presAssocID="{3CB867DE-A6A6-4E62-BEA0-EE9C1128C065}" presName="comp" presStyleCnt="0"/>
      <dgm:spPr/>
    </dgm:pt>
    <dgm:pt modelId="{061FA7CE-D25C-4FFB-9C08-8F149D438A4E}" type="pres">
      <dgm:prSet presAssocID="{3CB867DE-A6A6-4E62-BEA0-EE9C1128C065}" presName="child" presStyleLbl="bgAccFollowNode1" presStyleIdx="4" presStyleCnt="6"/>
      <dgm:spPr/>
    </dgm:pt>
    <dgm:pt modelId="{ACEAD56C-07DC-4C76-9ABF-8A703AAEF310}" type="pres">
      <dgm:prSet presAssocID="{3CB867DE-A6A6-4E62-BEA0-EE9C1128C065}" presName="childTx" presStyleLbl="bgAccFollowNode1" presStyleIdx="4" presStyleCnt="6">
        <dgm:presLayoutVars>
          <dgm:bulletEnabled val="1"/>
        </dgm:presLayoutVars>
      </dgm:prSet>
      <dgm:spPr/>
    </dgm:pt>
    <dgm:pt modelId="{F3684A09-4A75-4B4B-978E-9D4339B2F576}" type="pres">
      <dgm:prSet presAssocID="{825551D9-81BD-4418-9747-E185E71DB630}" presName="comp" presStyleCnt="0"/>
      <dgm:spPr/>
    </dgm:pt>
    <dgm:pt modelId="{7B0C2434-EE96-42FE-A4BE-A4511F2BC7AC}" type="pres">
      <dgm:prSet presAssocID="{825551D9-81BD-4418-9747-E185E71DB630}" presName="child" presStyleLbl="bgAccFollowNode1" presStyleIdx="5" presStyleCnt="6"/>
      <dgm:spPr/>
    </dgm:pt>
    <dgm:pt modelId="{A72C9388-1157-4E11-84C6-F8E058C61113}" type="pres">
      <dgm:prSet presAssocID="{825551D9-81BD-4418-9747-E185E71DB630}" presName="childTx" presStyleLbl="bgAccFollowNode1" presStyleIdx="5" presStyleCnt="6">
        <dgm:presLayoutVars>
          <dgm:bulletEnabled val="1"/>
        </dgm:presLayoutVars>
      </dgm:prSet>
      <dgm:spPr/>
    </dgm:pt>
    <dgm:pt modelId="{7E19EA46-882A-47C3-9DBE-4ED3FC5F9D27}" type="pres">
      <dgm:prSet presAssocID="{75EF618C-BDB1-4E9F-990B-A89F26180E70}" presName="negSpace" presStyleCnt="0"/>
      <dgm:spPr/>
    </dgm:pt>
    <dgm:pt modelId="{AF76CFD8-02C8-4441-8215-EE5E775F4874}" type="pres">
      <dgm:prSet presAssocID="{75EF618C-BDB1-4E9F-990B-A89F26180E70}" presName="circle" presStyleLbl="node1" presStyleIdx="1" presStyleCnt="2"/>
      <dgm:spPr/>
    </dgm:pt>
  </dgm:ptLst>
  <dgm:cxnLst>
    <dgm:cxn modelId="{41539E08-EE7B-4767-9A2B-47BCC0F1DCEB}" type="presOf" srcId="{E9B051F2-D8AE-4C48-A067-686EB24C04AB}" destId="{1A05FC16-C614-4C98-8888-4C13A883B7A8}" srcOrd="0" destOrd="0" presId="urn:microsoft.com/office/officeart/2005/8/layout/hList9"/>
    <dgm:cxn modelId="{004ADA0D-0CC2-4415-BEE8-9E6995270A0F}" srcId="{75EF618C-BDB1-4E9F-990B-A89F26180E70}" destId="{825551D9-81BD-4418-9747-E185E71DB630}" srcOrd="2" destOrd="0" parTransId="{DB6905B0-3CBC-4687-862D-74DBB0482919}" sibTransId="{DEC0E6B0-95B6-42E1-A0AB-C07A986163FB}"/>
    <dgm:cxn modelId="{C9217015-DAEA-4A35-89C4-42D092103542}" type="presOf" srcId="{8A0F5997-B1DC-41AB-8DC2-0D5B043C49DC}" destId="{D827C44E-FCD4-4C0A-8AD8-90CD7E85E308}" srcOrd="0" destOrd="0" presId="urn:microsoft.com/office/officeart/2005/8/layout/hList9"/>
    <dgm:cxn modelId="{E56FE81C-AAC6-4484-9CA7-F22BD5FAC0A1}" type="presOf" srcId="{DBEECD9E-7D48-4A73-9541-BB91E82703A6}" destId="{676942FA-DB2A-4DE6-B1A7-2C4F33875B04}" srcOrd="0" destOrd="0" presId="urn:microsoft.com/office/officeart/2005/8/layout/hList9"/>
    <dgm:cxn modelId="{A3B6A260-86DE-48B9-851A-8FBA8878627C}" type="presOf" srcId="{ABB36983-0F4F-4148-9DAB-5AE4B59D00BA}" destId="{BB06E5AE-F59D-4E03-A17E-35530D11C49F}" srcOrd="0" destOrd="0" presId="urn:microsoft.com/office/officeart/2005/8/layout/hList9"/>
    <dgm:cxn modelId="{DEB98A42-F7C0-44D7-A718-4D5E9EFC5C86}" srcId="{75EF618C-BDB1-4E9F-990B-A89F26180E70}" destId="{3CB867DE-A6A6-4E62-BEA0-EE9C1128C065}" srcOrd="1" destOrd="0" parTransId="{6DA3EAF2-F30B-4D8E-866C-01CB9FDC7461}" sibTransId="{D2BB3FD3-6F4F-4906-BDC7-2A6CF08EE344}"/>
    <dgm:cxn modelId="{3D0C6D66-A70B-421E-B083-6261FADD07BB}" type="presOf" srcId="{15B4A616-5991-448F-951B-025D89439FCE}" destId="{93F4E351-7064-49B0-BAE7-C8B05C462B8B}" srcOrd="1" destOrd="0" presId="urn:microsoft.com/office/officeart/2005/8/layout/hList9"/>
    <dgm:cxn modelId="{7D6AAC56-4E6D-40B3-B594-50F69DA97939}" type="presOf" srcId="{825551D9-81BD-4418-9747-E185E71DB630}" destId="{A72C9388-1157-4E11-84C6-F8E058C61113}" srcOrd="1" destOrd="0" presId="urn:microsoft.com/office/officeart/2005/8/layout/hList9"/>
    <dgm:cxn modelId="{50A4C47F-F486-4175-9470-258DA1CAFECA}" type="presOf" srcId="{15B4A616-5991-448F-951B-025D89439FCE}" destId="{5F6F0EEC-FE4B-4A9D-9369-A703EFCFD1AC}" srcOrd="0" destOrd="0" presId="urn:microsoft.com/office/officeart/2005/8/layout/hList9"/>
    <dgm:cxn modelId="{68A45188-DC23-405A-B934-32B1B47627D1}" type="presOf" srcId="{DBEECD9E-7D48-4A73-9541-BB91E82703A6}" destId="{50836AAD-A6C5-4B70-BBD1-290237EAC5BC}" srcOrd="1" destOrd="0" presId="urn:microsoft.com/office/officeart/2005/8/layout/hList9"/>
    <dgm:cxn modelId="{58FC7C8C-960D-49A8-B208-B7EF779187E8}" srcId="{75EF618C-BDB1-4E9F-990B-A89F26180E70}" destId="{E9B051F2-D8AE-4C48-A067-686EB24C04AB}" srcOrd="0" destOrd="0" parTransId="{F3861BD3-033C-44D7-9EC0-BC2C8295FE67}" sibTransId="{84996215-3488-462C-93A0-C1A816C80671}"/>
    <dgm:cxn modelId="{C9DF8C9A-31DE-4F26-AAAD-EE9B4F7E5C4E}" srcId="{8A0F5997-B1DC-41AB-8DC2-0D5B043C49DC}" destId="{19B3EFC4-8A78-4741-9B76-F07EB8DA755A}" srcOrd="0" destOrd="0" parTransId="{1E5786EF-00CB-4BAD-987D-F6A197BFB384}" sibTransId="{52C64453-D836-40EA-804E-9CD600D5DB98}"/>
    <dgm:cxn modelId="{F67E009B-AB28-4DB8-94C6-65D1803ED0CE}" srcId="{19B3EFC4-8A78-4741-9B76-F07EB8DA755A}" destId="{ABB36983-0F4F-4148-9DAB-5AE4B59D00BA}" srcOrd="1" destOrd="0" parTransId="{8731CEFF-CA29-4B6B-B748-C3F3B407BCF4}" sibTransId="{A2967654-248E-44D8-B612-DC295AF15119}"/>
    <dgm:cxn modelId="{F42D0A9E-A477-46C5-BB9F-05FCEB879795}" type="presOf" srcId="{19B3EFC4-8A78-4741-9B76-F07EB8DA755A}" destId="{6A0AB1BF-176D-4912-A558-069CD2444DE2}" srcOrd="0" destOrd="0" presId="urn:microsoft.com/office/officeart/2005/8/layout/hList9"/>
    <dgm:cxn modelId="{DDA7BFA1-CB7D-437B-9983-61201EE9ED02}" type="presOf" srcId="{ABB36983-0F4F-4148-9DAB-5AE4B59D00BA}" destId="{0F192443-75FB-445C-9163-2E2E0981CCB7}" srcOrd="1" destOrd="0" presId="urn:microsoft.com/office/officeart/2005/8/layout/hList9"/>
    <dgm:cxn modelId="{75A95EA2-37BA-4578-AD78-732C0911DE4E}" type="presOf" srcId="{75EF618C-BDB1-4E9F-990B-A89F26180E70}" destId="{AF76CFD8-02C8-4441-8215-EE5E775F4874}" srcOrd="0" destOrd="0" presId="urn:microsoft.com/office/officeart/2005/8/layout/hList9"/>
    <dgm:cxn modelId="{A6CB64AF-BB51-46E6-83EC-BEF436BF0CBB}" srcId="{19B3EFC4-8A78-4741-9B76-F07EB8DA755A}" destId="{15B4A616-5991-448F-951B-025D89439FCE}" srcOrd="2" destOrd="0" parTransId="{7FC58891-2644-4934-86E9-4BBD22D2BF48}" sibTransId="{189142A6-0877-435D-A1EB-BFC565989DB3}"/>
    <dgm:cxn modelId="{F08082B2-A40F-4805-AD27-F43749D61597}" type="presOf" srcId="{3CB867DE-A6A6-4E62-BEA0-EE9C1128C065}" destId="{ACEAD56C-07DC-4C76-9ABF-8A703AAEF310}" srcOrd="1" destOrd="0" presId="urn:microsoft.com/office/officeart/2005/8/layout/hList9"/>
    <dgm:cxn modelId="{69A362BA-2CB5-4F75-A995-3D8B14C7EE2B}" srcId="{8A0F5997-B1DC-41AB-8DC2-0D5B043C49DC}" destId="{75EF618C-BDB1-4E9F-990B-A89F26180E70}" srcOrd="1" destOrd="0" parTransId="{CEAB8718-954F-4280-8360-025A1132AA4B}" sibTransId="{294DA2E7-12C7-4CC5-9129-6BA18309DFBA}"/>
    <dgm:cxn modelId="{E93525DB-E8A7-46AD-9B5F-9BC10C57E865}" type="presOf" srcId="{E9B051F2-D8AE-4C48-A067-686EB24C04AB}" destId="{C3608531-6245-4DDE-BFA2-C072977A3ED6}" srcOrd="1" destOrd="0" presId="urn:microsoft.com/office/officeart/2005/8/layout/hList9"/>
    <dgm:cxn modelId="{DC0CAFE3-AD12-49A5-8AD3-69F652F42613}" type="presOf" srcId="{3CB867DE-A6A6-4E62-BEA0-EE9C1128C065}" destId="{061FA7CE-D25C-4FFB-9C08-8F149D438A4E}" srcOrd="0" destOrd="0" presId="urn:microsoft.com/office/officeart/2005/8/layout/hList9"/>
    <dgm:cxn modelId="{D868E7F3-9A6F-4AB2-A9A4-0A05C5C80267}" srcId="{19B3EFC4-8A78-4741-9B76-F07EB8DA755A}" destId="{DBEECD9E-7D48-4A73-9541-BB91E82703A6}" srcOrd="0" destOrd="0" parTransId="{50E5293B-7546-4236-9EC9-513C5501CE7F}" sibTransId="{A1D8706F-2805-490F-BD3F-92F31157AF77}"/>
    <dgm:cxn modelId="{A85D61FA-73A5-4929-AD41-035F6ABF3847}" type="presOf" srcId="{825551D9-81BD-4418-9747-E185E71DB630}" destId="{7B0C2434-EE96-42FE-A4BE-A4511F2BC7AC}" srcOrd="0" destOrd="0" presId="urn:microsoft.com/office/officeart/2005/8/layout/hList9"/>
    <dgm:cxn modelId="{27A8E793-D81F-4E50-9EBD-BFD36440519A}" type="presParOf" srcId="{D827C44E-FCD4-4C0A-8AD8-90CD7E85E308}" destId="{59EE10B7-170A-40BE-A091-E90E7F3D9971}" srcOrd="0" destOrd="0" presId="urn:microsoft.com/office/officeart/2005/8/layout/hList9"/>
    <dgm:cxn modelId="{B477C513-7E8F-4F77-B06E-56A077A7048A}" type="presParOf" srcId="{D827C44E-FCD4-4C0A-8AD8-90CD7E85E308}" destId="{CD03578D-B52C-4016-B7E7-B27CCA9A6C38}" srcOrd="1" destOrd="0" presId="urn:microsoft.com/office/officeart/2005/8/layout/hList9"/>
    <dgm:cxn modelId="{A5C26D45-FA76-468A-9E69-5211EC91EE00}" type="presParOf" srcId="{CD03578D-B52C-4016-B7E7-B27CCA9A6C38}" destId="{A48453A1-3BA8-4459-B16C-AE4FFF511469}" srcOrd="0" destOrd="0" presId="urn:microsoft.com/office/officeart/2005/8/layout/hList9"/>
    <dgm:cxn modelId="{220A4BD6-9AB8-4894-8D88-1FA60507BFC9}" type="presParOf" srcId="{CD03578D-B52C-4016-B7E7-B27CCA9A6C38}" destId="{147DBEE5-FD45-4681-A5D4-94C5E701AC45}" srcOrd="1" destOrd="0" presId="urn:microsoft.com/office/officeart/2005/8/layout/hList9"/>
    <dgm:cxn modelId="{80537F92-CA2C-4D82-A0C5-8611744DE745}" type="presParOf" srcId="{147DBEE5-FD45-4681-A5D4-94C5E701AC45}" destId="{676942FA-DB2A-4DE6-B1A7-2C4F33875B04}" srcOrd="0" destOrd="0" presId="urn:microsoft.com/office/officeart/2005/8/layout/hList9"/>
    <dgm:cxn modelId="{4C74A507-4B16-44DF-BF9C-E7572D367295}" type="presParOf" srcId="{147DBEE5-FD45-4681-A5D4-94C5E701AC45}" destId="{50836AAD-A6C5-4B70-BBD1-290237EAC5BC}" srcOrd="1" destOrd="0" presId="urn:microsoft.com/office/officeart/2005/8/layout/hList9"/>
    <dgm:cxn modelId="{07338E34-8F64-4F28-97EF-055F66214CE3}" type="presParOf" srcId="{CD03578D-B52C-4016-B7E7-B27CCA9A6C38}" destId="{D3E6468D-7CCF-4BCE-AC94-DF8A2BD6B034}" srcOrd="2" destOrd="0" presId="urn:microsoft.com/office/officeart/2005/8/layout/hList9"/>
    <dgm:cxn modelId="{4AB72038-B6C5-4103-A910-F41ABBEA042F}" type="presParOf" srcId="{D3E6468D-7CCF-4BCE-AC94-DF8A2BD6B034}" destId="{BB06E5AE-F59D-4E03-A17E-35530D11C49F}" srcOrd="0" destOrd="0" presId="urn:microsoft.com/office/officeart/2005/8/layout/hList9"/>
    <dgm:cxn modelId="{B1446E1F-E5C5-48BB-81C8-B4385097CE4C}" type="presParOf" srcId="{D3E6468D-7CCF-4BCE-AC94-DF8A2BD6B034}" destId="{0F192443-75FB-445C-9163-2E2E0981CCB7}" srcOrd="1" destOrd="0" presId="urn:microsoft.com/office/officeart/2005/8/layout/hList9"/>
    <dgm:cxn modelId="{B1BD74A9-1F26-4A8B-B552-0C61BAC054D8}" type="presParOf" srcId="{CD03578D-B52C-4016-B7E7-B27CCA9A6C38}" destId="{23607819-17C9-4B58-9F03-10E60C42F555}" srcOrd="3" destOrd="0" presId="urn:microsoft.com/office/officeart/2005/8/layout/hList9"/>
    <dgm:cxn modelId="{F3C9AF87-9335-4A6B-91E4-B54552A76BD0}" type="presParOf" srcId="{23607819-17C9-4B58-9F03-10E60C42F555}" destId="{5F6F0EEC-FE4B-4A9D-9369-A703EFCFD1AC}" srcOrd="0" destOrd="0" presId="urn:microsoft.com/office/officeart/2005/8/layout/hList9"/>
    <dgm:cxn modelId="{9393B3C1-97EF-40A2-B547-F03AB8064982}" type="presParOf" srcId="{23607819-17C9-4B58-9F03-10E60C42F555}" destId="{93F4E351-7064-49B0-BAE7-C8B05C462B8B}" srcOrd="1" destOrd="0" presId="urn:microsoft.com/office/officeart/2005/8/layout/hList9"/>
    <dgm:cxn modelId="{50FB0F3F-CF76-4C74-BB37-A9DF9B0F98BA}" type="presParOf" srcId="{D827C44E-FCD4-4C0A-8AD8-90CD7E85E308}" destId="{42441BD1-3404-4F89-9AA0-95F01DD1601E}" srcOrd="2" destOrd="0" presId="urn:microsoft.com/office/officeart/2005/8/layout/hList9"/>
    <dgm:cxn modelId="{AA469E7B-FF61-446F-94A2-EB8168244B06}" type="presParOf" srcId="{D827C44E-FCD4-4C0A-8AD8-90CD7E85E308}" destId="{6A0AB1BF-176D-4912-A558-069CD2444DE2}" srcOrd="3" destOrd="0" presId="urn:microsoft.com/office/officeart/2005/8/layout/hList9"/>
    <dgm:cxn modelId="{80694592-DCAD-433F-AF9F-02DF76D183F9}" type="presParOf" srcId="{D827C44E-FCD4-4C0A-8AD8-90CD7E85E308}" destId="{72DF805D-8D69-4FEE-A9B9-C009AF17FAFE}" srcOrd="4" destOrd="0" presId="urn:microsoft.com/office/officeart/2005/8/layout/hList9"/>
    <dgm:cxn modelId="{E2554CDB-F752-4A8D-8B2B-7F77E5E01E93}" type="presParOf" srcId="{D827C44E-FCD4-4C0A-8AD8-90CD7E85E308}" destId="{AF15A64F-F562-4639-9ADA-99EE58D5A701}" srcOrd="5" destOrd="0" presId="urn:microsoft.com/office/officeart/2005/8/layout/hList9"/>
    <dgm:cxn modelId="{81524059-782D-4D8B-93E0-CC22B50A2188}" type="presParOf" srcId="{D827C44E-FCD4-4C0A-8AD8-90CD7E85E308}" destId="{E00E17A5-1103-438A-87DA-7F0A35F3F580}" srcOrd="6" destOrd="0" presId="urn:microsoft.com/office/officeart/2005/8/layout/hList9"/>
    <dgm:cxn modelId="{8A2F8931-EAB8-4261-B46E-006B0824EE88}" type="presParOf" srcId="{E00E17A5-1103-438A-87DA-7F0A35F3F580}" destId="{72529487-0013-4D92-84AD-0F8A36B7CA15}" srcOrd="0" destOrd="0" presId="urn:microsoft.com/office/officeart/2005/8/layout/hList9"/>
    <dgm:cxn modelId="{1F8AE6D4-E223-450C-86FF-FD9C3133C0A3}" type="presParOf" srcId="{E00E17A5-1103-438A-87DA-7F0A35F3F580}" destId="{83A2E34B-F343-4852-8035-04799DF194A9}" srcOrd="1" destOrd="0" presId="urn:microsoft.com/office/officeart/2005/8/layout/hList9"/>
    <dgm:cxn modelId="{8B795C41-40B5-40A0-A5A6-887344502CA1}" type="presParOf" srcId="{83A2E34B-F343-4852-8035-04799DF194A9}" destId="{1A05FC16-C614-4C98-8888-4C13A883B7A8}" srcOrd="0" destOrd="0" presId="urn:microsoft.com/office/officeart/2005/8/layout/hList9"/>
    <dgm:cxn modelId="{9803F331-3247-4B0D-BCE7-2F02825FCB58}" type="presParOf" srcId="{83A2E34B-F343-4852-8035-04799DF194A9}" destId="{C3608531-6245-4DDE-BFA2-C072977A3ED6}" srcOrd="1" destOrd="0" presId="urn:microsoft.com/office/officeart/2005/8/layout/hList9"/>
    <dgm:cxn modelId="{B29C3E77-A113-48AA-B78C-E876DF21A6E2}" type="presParOf" srcId="{E00E17A5-1103-438A-87DA-7F0A35F3F580}" destId="{A38576A2-6846-4903-BE08-DE3B900E7ACA}" srcOrd="2" destOrd="0" presId="urn:microsoft.com/office/officeart/2005/8/layout/hList9"/>
    <dgm:cxn modelId="{B60BB03A-14AE-4FB3-BABF-2D788A9D92C6}" type="presParOf" srcId="{A38576A2-6846-4903-BE08-DE3B900E7ACA}" destId="{061FA7CE-D25C-4FFB-9C08-8F149D438A4E}" srcOrd="0" destOrd="0" presId="urn:microsoft.com/office/officeart/2005/8/layout/hList9"/>
    <dgm:cxn modelId="{C56674DC-FFE2-45EA-8B5B-F8755F1942FD}" type="presParOf" srcId="{A38576A2-6846-4903-BE08-DE3B900E7ACA}" destId="{ACEAD56C-07DC-4C76-9ABF-8A703AAEF310}" srcOrd="1" destOrd="0" presId="urn:microsoft.com/office/officeart/2005/8/layout/hList9"/>
    <dgm:cxn modelId="{25EC4B8B-206E-4942-AC00-46CE7F4A4601}" type="presParOf" srcId="{E00E17A5-1103-438A-87DA-7F0A35F3F580}" destId="{F3684A09-4A75-4B4B-978E-9D4339B2F576}" srcOrd="3" destOrd="0" presId="urn:microsoft.com/office/officeart/2005/8/layout/hList9"/>
    <dgm:cxn modelId="{17CED3B3-282F-4E2B-AB00-4FEF1A59841F}" type="presParOf" srcId="{F3684A09-4A75-4B4B-978E-9D4339B2F576}" destId="{7B0C2434-EE96-42FE-A4BE-A4511F2BC7AC}" srcOrd="0" destOrd="0" presId="urn:microsoft.com/office/officeart/2005/8/layout/hList9"/>
    <dgm:cxn modelId="{02AF14DD-EB3E-47FA-A675-2FE0E22C1F83}" type="presParOf" srcId="{F3684A09-4A75-4B4B-978E-9D4339B2F576}" destId="{A72C9388-1157-4E11-84C6-F8E058C61113}" srcOrd="1" destOrd="0" presId="urn:microsoft.com/office/officeart/2005/8/layout/hList9"/>
    <dgm:cxn modelId="{2E2B464C-76BC-4AD9-A61E-7CF7EC564C77}" type="presParOf" srcId="{D827C44E-FCD4-4C0A-8AD8-90CD7E85E308}" destId="{7E19EA46-882A-47C3-9DBE-4ED3FC5F9D27}" srcOrd="7" destOrd="0" presId="urn:microsoft.com/office/officeart/2005/8/layout/hList9"/>
    <dgm:cxn modelId="{78325E1A-42B4-44EE-AD30-9683F5747F01}" type="presParOf" srcId="{D827C44E-FCD4-4C0A-8AD8-90CD7E85E308}" destId="{AF76CFD8-02C8-4441-8215-EE5E775F4874}" srcOrd="8" destOrd="0" presId="urn:microsoft.com/office/officeart/2005/8/layout/hList9"/>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A0F5997-B1DC-41AB-8DC2-0D5B043C49DC}" type="doc">
      <dgm:prSet loTypeId="urn:microsoft.com/office/officeart/2005/8/layout/hList9" loCatId="list" qsTypeId="urn:microsoft.com/office/officeart/2005/8/quickstyle/simple1" qsCatId="simple" csTypeId="urn:microsoft.com/office/officeart/2005/8/colors/accent1_2" csCatId="accent1" phldr="1"/>
      <dgm:spPr/>
      <dgm:t>
        <a:bodyPr/>
        <a:lstStyle/>
        <a:p>
          <a:endParaRPr lang="en-US"/>
        </a:p>
      </dgm:t>
    </dgm:pt>
    <dgm:pt modelId="{19B3EFC4-8A78-4741-9B76-F07EB8DA755A}">
      <dgm:prSet phldrT="[Text]" custT="1"/>
      <dgm:spPr/>
      <dgm:t>
        <a:bodyPr/>
        <a:lstStyle/>
        <a:p>
          <a:r>
            <a:rPr lang="en-US" sz="900" dirty="0"/>
            <a:t>Style Allocation</a:t>
          </a:r>
        </a:p>
      </dgm:t>
    </dgm:pt>
    <dgm:pt modelId="{1E5786EF-00CB-4BAD-987D-F6A197BFB384}" cxnId="{C9DF8C9A-31DE-4F26-AAAD-EE9B4F7E5C4E}" type="parTrans">
      <dgm:prSet/>
      <dgm:spPr/>
      <dgm:t>
        <a:bodyPr/>
        <a:lstStyle/>
        <a:p>
          <a:endParaRPr lang="en-US"/>
        </a:p>
      </dgm:t>
    </dgm:pt>
    <dgm:pt modelId="{52C64453-D836-40EA-804E-9CD600D5DB98}" cxnId="{C9DF8C9A-31DE-4F26-AAAD-EE9B4F7E5C4E}" type="sibTrans">
      <dgm:prSet/>
      <dgm:spPr/>
      <dgm:t>
        <a:bodyPr/>
        <a:lstStyle/>
        <a:p>
          <a:endParaRPr lang="en-US"/>
        </a:p>
      </dgm:t>
    </dgm:pt>
    <dgm:pt modelId="{ABB36983-0F4F-4148-9DAB-5AE4B59D00BA}">
      <dgm:prSet phldrT="[Text]"/>
      <dgm:spPr>
        <a:solidFill>
          <a:schemeClr val="bg1">
            <a:alpha val="90000"/>
          </a:schemeClr>
        </a:solidFill>
      </dgm:spPr>
      <dgm:t>
        <a:bodyPr/>
        <a:lstStyle/>
        <a:p>
          <a:pPr algn="ctr"/>
          <a:r>
            <a:rPr lang="en-US" dirty="0"/>
            <a:t>Allocation to Growth, Value and GARP*</a:t>
          </a:r>
        </a:p>
      </dgm:t>
    </dgm:pt>
    <dgm:pt modelId="{8731CEFF-CA29-4B6B-B748-C3F3B407BCF4}" cxnId="{F67E009B-AB28-4DB8-94C6-65D1803ED0CE}" type="parTrans">
      <dgm:prSet/>
      <dgm:spPr/>
      <dgm:t>
        <a:bodyPr/>
        <a:lstStyle/>
        <a:p>
          <a:endParaRPr lang="en-US"/>
        </a:p>
      </dgm:t>
    </dgm:pt>
    <dgm:pt modelId="{A2967654-248E-44D8-B612-DC295AF15119}" cxnId="{F67E009B-AB28-4DB8-94C6-65D1803ED0CE}" type="sibTrans">
      <dgm:prSet/>
      <dgm:spPr/>
      <dgm:t>
        <a:bodyPr/>
        <a:lstStyle/>
        <a:p>
          <a:endParaRPr lang="en-US"/>
        </a:p>
      </dgm:t>
    </dgm:pt>
    <dgm:pt modelId="{57871C86-6DDE-4954-A775-769AC619A6F5}">
      <dgm:prSet phldrT="[Text]"/>
      <dgm:spPr>
        <a:solidFill>
          <a:schemeClr val="bg1">
            <a:alpha val="90000"/>
          </a:schemeClr>
        </a:solidFill>
      </dgm:spPr>
      <dgm:t>
        <a:bodyPr/>
        <a:lstStyle/>
        <a:p>
          <a:pPr algn="ctr"/>
          <a:r>
            <a:rPr lang="en-US" dirty="0"/>
            <a:t>Valuation differentials, Stance on markets, and Econometric Model</a:t>
          </a:r>
        </a:p>
      </dgm:t>
    </dgm:pt>
    <dgm:pt modelId="{CC98B98E-AE4A-46E2-B9FB-A639979E764C}" cxnId="{FAC39EC2-D095-4C38-BB61-130836B36419}" type="parTrans">
      <dgm:prSet/>
      <dgm:spPr/>
      <dgm:t>
        <a:bodyPr/>
        <a:lstStyle/>
        <a:p>
          <a:endParaRPr lang="en-US"/>
        </a:p>
      </dgm:t>
    </dgm:pt>
    <dgm:pt modelId="{49D354A5-2148-45AD-8253-3C4107A6FEAA}" cxnId="{FAC39EC2-D095-4C38-BB61-130836B36419}" type="sibTrans">
      <dgm:prSet/>
      <dgm:spPr/>
      <dgm:t>
        <a:bodyPr/>
        <a:lstStyle/>
        <a:p>
          <a:endParaRPr lang="en-US"/>
        </a:p>
      </dgm:t>
    </dgm:pt>
    <dgm:pt modelId="{75EF618C-BDB1-4E9F-990B-A89F26180E70}">
      <dgm:prSet phldrT="[Text]" custT="1"/>
      <dgm:spPr/>
      <dgm:t>
        <a:bodyPr/>
        <a:lstStyle/>
        <a:p>
          <a:r>
            <a:rPr lang="en-US" sz="900" dirty="0"/>
            <a:t>Manager/Stock Selection</a:t>
          </a:r>
        </a:p>
      </dgm:t>
    </dgm:pt>
    <dgm:pt modelId="{CEAB8718-954F-4280-8360-025A1132AA4B}" cxnId="{69A362BA-2CB5-4F75-A995-3D8B14C7EE2B}" type="parTrans">
      <dgm:prSet/>
      <dgm:spPr/>
      <dgm:t>
        <a:bodyPr/>
        <a:lstStyle/>
        <a:p>
          <a:endParaRPr lang="en-US"/>
        </a:p>
      </dgm:t>
    </dgm:pt>
    <dgm:pt modelId="{294DA2E7-12C7-4CC5-9129-6BA18309DFBA}" cxnId="{69A362BA-2CB5-4F75-A995-3D8B14C7EE2B}" type="sibTrans">
      <dgm:prSet/>
      <dgm:spPr/>
      <dgm:t>
        <a:bodyPr/>
        <a:lstStyle/>
        <a:p>
          <a:endParaRPr lang="en-US"/>
        </a:p>
      </dgm:t>
    </dgm:pt>
    <dgm:pt modelId="{E9B051F2-D8AE-4C48-A067-686EB24C04AB}">
      <dgm:prSet phldrT="[Text]"/>
      <dgm:spPr>
        <a:solidFill>
          <a:schemeClr val="bg1">
            <a:alpha val="90000"/>
          </a:schemeClr>
        </a:solidFill>
      </dgm:spPr>
      <dgm:t>
        <a:bodyPr/>
        <a:lstStyle/>
        <a:p>
          <a:pPr algn="ctr"/>
          <a:r>
            <a:rPr lang="en-US" dirty="0"/>
            <a:t>Quantitative Assessment</a:t>
          </a:r>
        </a:p>
      </dgm:t>
    </dgm:pt>
    <dgm:pt modelId="{F3861BD3-033C-44D7-9EC0-BC2C8295FE67}" cxnId="{58FC7C8C-960D-49A8-B208-B7EF779187E8}" type="parTrans">
      <dgm:prSet/>
      <dgm:spPr/>
      <dgm:t>
        <a:bodyPr/>
        <a:lstStyle/>
        <a:p>
          <a:endParaRPr lang="en-US"/>
        </a:p>
      </dgm:t>
    </dgm:pt>
    <dgm:pt modelId="{84996215-3488-462C-93A0-C1A816C80671}" cxnId="{58FC7C8C-960D-49A8-B208-B7EF779187E8}" type="sibTrans">
      <dgm:prSet/>
      <dgm:spPr/>
      <dgm:t>
        <a:bodyPr/>
        <a:lstStyle/>
        <a:p>
          <a:endParaRPr lang="en-US"/>
        </a:p>
      </dgm:t>
    </dgm:pt>
    <dgm:pt modelId="{825551D9-81BD-4418-9747-E185E71DB630}">
      <dgm:prSet phldrT="[Text]"/>
      <dgm:spPr>
        <a:solidFill>
          <a:schemeClr val="bg1">
            <a:alpha val="90000"/>
          </a:schemeClr>
        </a:solidFill>
      </dgm:spPr>
      <dgm:t>
        <a:bodyPr/>
        <a:lstStyle/>
        <a:p>
          <a:pPr algn="ctr"/>
          <a:r>
            <a:rPr lang="en-US" dirty="0"/>
            <a:t>Leading Vs Lagging Indicators</a:t>
          </a:r>
        </a:p>
      </dgm:t>
    </dgm:pt>
    <dgm:pt modelId="{DB6905B0-3CBC-4687-862D-74DBB0482919}" cxnId="{004ADA0D-0CC2-4415-BEE8-9E6995270A0F}" type="parTrans">
      <dgm:prSet/>
      <dgm:spPr/>
      <dgm:t>
        <a:bodyPr/>
        <a:lstStyle/>
        <a:p>
          <a:endParaRPr lang="en-US"/>
        </a:p>
      </dgm:t>
    </dgm:pt>
    <dgm:pt modelId="{DEC0E6B0-95B6-42E1-A0AB-C07A986163FB}" cxnId="{004ADA0D-0CC2-4415-BEE8-9E6995270A0F}" type="sibTrans">
      <dgm:prSet/>
      <dgm:spPr/>
      <dgm:t>
        <a:bodyPr/>
        <a:lstStyle/>
        <a:p>
          <a:endParaRPr lang="en-US"/>
        </a:p>
      </dgm:t>
    </dgm:pt>
    <dgm:pt modelId="{E20A7F6A-B29A-4D7A-9D2D-55051161F36A}">
      <dgm:prSet/>
      <dgm:spPr>
        <a:solidFill>
          <a:schemeClr val="bg1">
            <a:lumMod val="95000"/>
            <a:alpha val="90000"/>
          </a:schemeClr>
        </a:solidFill>
      </dgm:spPr>
      <dgm:t>
        <a:bodyPr/>
        <a:lstStyle/>
        <a:p>
          <a:pPr algn="ctr"/>
          <a:r>
            <a:rPr lang="en-US" b="1" dirty="0">
              <a:solidFill>
                <a:schemeClr val="tx1"/>
              </a:solidFill>
            </a:rPr>
            <a:t>Beta Management</a:t>
          </a:r>
        </a:p>
      </dgm:t>
    </dgm:pt>
    <dgm:pt modelId="{9AA3F307-4FDB-4E79-83FC-0165F6A47B19}" cxnId="{B34CFE69-F347-4112-A0E4-607223F92496}" type="parTrans">
      <dgm:prSet/>
      <dgm:spPr/>
      <dgm:t>
        <a:bodyPr/>
        <a:lstStyle/>
        <a:p>
          <a:endParaRPr lang="en-US"/>
        </a:p>
      </dgm:t>
    </dgm:pt>
    <dgm:pt modelId="{F3513846-5551-4AF3-B9D3-36F2A9777A2E}" cxnId="{B34CFE69-F347-4112-A0E4-607223F92496}" type="sibTrans">
      <dgm:prSet/>
      <dgm:spPr/>
      <dgm:t>
        <a:bodyPr/>
        <a:lstStyle/>
        <a:p>
          <a:endParaRPr lang="en-US"/>
        </a:p>
      </dgm:t>
    </dgm:pt>
    <dgm:pt modelId="{CB295D2E-1724-483F-85EA-1299466E6A8B}">
      <dgm:prSet/>
      <dgm:spPr>
        <a:solidFill>
          <a:schemeClr val="bg1">
            <a:lumMod val="95000"/>
            <a:alpha val="90000"/>
          </a:schemeClr>
        </a:solidFill>
      </dgm:spPr>
      <dgm:t>
        <a:bodyPr/>
        <a:lstStyle/>
        <a:p>
          <a:pPr algn="ctr"/>
          <a:r>
            <a:rPr lang="en-US" b="1" dirty="0">
              <a:solidFill>
                <a:schemeClr val="tx1"/>
              </a:solidFill>
            </a:rPr>
            <a:t>Qualitative Assessment</a:t>
          </a:r>
        </a:p>
      </dgm:t>
    </dgm:pt>
    <dgm:pt modelId="{C2943D54-E47C-406B-B351-21BD2D07FC25}" cxnId="{2B6B20AE-BF71-4A95-90A9-AB946AB764B0}" type="parTrans">
      <dgm:prSet/>
      <dgm:spPr/>
      <dgm:t>
        <a:bodyPr/>
        <a:lstStyle/>
        <a:p>
          <a:endParaRPr lang="en-US"/>
        </a:p>
      </dgm:t>
    </dgm:pt>
    <dgm:pt modelId="{265EDD8B-6576-43A6-8D10-5477AA6BBA1D}" cxnId="{2B6B20AE-BF71-4A95-90A9-AB946AB764B0}" type="sibTrans">
      <dgm:prSet/>
      <dgm:spPr/>
      <dgm:t>
        <a:bodyPr/>
        <a:lstStyle/>
        <a:p>
          <a:endParaRPr lang="en-US"/>
        </a:p>
      </dgm:t>
    </dgm:pt>
    <dgm:pt modelId="{D827C44E-FCD4-4C0A-8AD8-90CD7E85E308}" type="pres">
      <dgm:prSet presAssocID="{8A0F5997-B1DC-41AB-8DC2-0D5B043C49DC}" presName="list" presStyleCnt="0">
        <dgm:presLayoutVars>
          <dgm:dir/>
          <dgm:animLvl val="lvl"/>
        </dgm:presLayoutVars>
      </dgm:prSet>
      <dgm:spPr/>
    </dgm:pt>
    <dgm:pt modelId="{59EE10B7-170A-40BE-A091-E90E7F3D9971}" type="pres">
      <dgm:prSet presAssocID="{19B3EFC4-8A78-4741-9B76-F07EB8DA755A}" presName="posSpace" presStyleCnt="0"/>
      <dgm:spPr/>
    </dgm:pt>
    <dgm:pt modelId="{CD03578D-B52C-4016-B7E7-B27CCA9A6C38}" type="pres">
      <dgm:prSet presAssocID="{19B3EFC4-8A78-4741-9B76-F07EB8DA755A}" presName="vertFlow" presStyleCnt="0"/>
      <dgm:spPr/>
    </dgm:pt>
    <dgm:pt modelId="{A48453A1-3BA8-4459-B16C-AE4FFF511469}" type="pres">
      <dgm:prSet presAssocID="{19B3EFC4-8A78-4741-9B76-F07EB8DA755A}" presName="topSpace" presStyleCnt="0"/>
      <dgm:spPr/>
    </dgm:pt>
    <dgm:pt modelId="{147DBEE5-FD45-4681-A5D4-94C5E701AC45}" type="pres">
      <dgm:prSet presAssocID="{19B3EFC4-8A78-4741-9B76-F07EB8DA755A}" presName="firstComp" presStyleCnt="0"/>
      <dgm:spPr/>
    </dgm:pt>
    <dgm:pt modelId="{676942FA-DB2A-4DE6-B1A7-2C4F33875B04}" type="pres">
      <dgm:prSet presAssocID="{19B3EFC4-8A78-4741-9B76-F07EB8DA755A}" presName="firstChild" presStyleLbl="bgAccFollowNode1" presStyleIdx="0" presStyleCnt="6"/>
      <dgm:spPr/>
    </dgm:pt>
    <dgm:pt modelId="{50836AAD-A6C5-4B70-BBD1-290237EAC5BC}" type="pres">
      <dgm:prSet presAssocID="{19B3EFC4-8A78-4741-9B76-F07EB8DA755A}" presName="firstChildTx" presStyleLbl="bgAccFollowNode1" presStyleIdx="0" presStyleCnt="6">
        <dgm:presLayoutVars>
          <dgm:bulletEnabled val="1"/>
        </dgm:presLayoutVars>
      </dgm:prSet>
      <dgm:spPr/>
    </dgm:pt>
    <dgm:pt modelId="{B5A55224-3B38-4FAB-8F27-8AF2BB81A010}" type="pres">
      <dgm:prSet presAssocID="{E20A7F6A-B29A-4D7A-9D2D-55051161F36A}" presName="comp" presStyleCnt="0"/>
      <dgm:spPr/>
    </dgm:pt>
    <dgm:pt modelId="{FC3D83FF-8FE1-411D-9168-38B0A3670960}" type="pres">
      <dgm:prSet presAssocID="{E20A7F6A-B29A-4D7A-9D2D-55051161F36A}" presName="child" presStyleLbl="bgAccFollowNode1" presStyleIdx="1" presStyleCnt="6"/>
      <dgm:spPr/>
    </dgm:pt>
    <dgm:pt modelId="{508EB3A2-2D86-4F45-B444-1F787737756F}" type="pres">
      <dgm:prSet presAssocID="{E20A7F6A-B29A-4D7A-9D2D-55051161F36A}" presName="childTx" presStyleLbl="bgAccFollowNode1" presStyleIdx="1" presStyleCnt="6">
        <dgm:presLayoutVars>
          <dgm:bulletEnabled val="1"/>
        </dgm:presLayoutVars>
      </dgm:prSet>
      <dgm:spPr/>
    </dgm:pt>
    <dgm:pt modelId="{D9492CF5-23D4-4A0A-A6CF-DD8FF1AAC9CB}" type="pres">
      <dgm:prSet presAssocID="{57871C86-6DDE-4954-A775-769AC619A6F5}" presName="comp" presStyleCnt="0"/>
      <dgm:spPr/>
    </dgm:pt>
    <dgm:pt modelId="{E553CB4C-163A-4FF9-8246-9DE67CF92F1B}" type="pres">
      <dgm:prSet presAssocID="{57871C86-6DDE-4954-A775-769AC619A6F5}" presName="child" presStyleLbl="bgAccFollowNode1" presStyleIdx="2" presStyleCnt="6" custScaleY="120264"/>
      <dgm:spPr/>
    </dgm:pt>
    <dgm:pt modelId="{E4FB3ACF-3AE5-4BD9-9B9A-276B1046DAF6}" type="pres">
      <dgm:prSet presAssocID="{57871C86-6DDE-4954-A775-769AC619A6F5}" presName="childTx" presStyleLbl="bgAccFollowNode1" presStyleIdx="2" presStyleCnt="6">
        <dgm:presLayoutVars>
          <dgm:bulletEnabled val="1"/>
        </dgm:presLayoutVars>
      </dgm:prSet>
      <dgm:spPr/>
    </dgm:pt>
    <dgm:pt modelId="{42441BD1-3404-4F89-9AA0-95F01DD1601E}" type="pres">
      <dgm:prSet presAssocID="{19B3EFC4-8A78-4741-9B76-F07EB8DA755A}" presName="negSpace" presStyleCnt="0"/>
      <dgm:spPr/>
    </dgm:pt>
    <dgm:pt modelId="{6A0AB1BF-176D-4912-A558-069CD2444DE2}" type="pres">
      <dgm:prSet presAssocID="{19B3EFC4-8A78-4741-9B76-F07EB8DA755A}" presName="circle" presStyleLbl="node1" presStyleIdx="0" presStyleCnt="2"/>
      <dgm:spPr/>
    </dgm:pt>
    <dgm:pt modelId="{72DF805D-8D69-4FEE-A9B9-C009AF17FAFE}" type="pres">
      <dgm:prSet presAssocID="{52C64453-D836-40EA-804E-9CD600D5DB98}" presName="transSpace" presStyleCnt="0"/>
      <dgm:spPr/>
    </dgm:pt>
    <dgm:pt modelId="{AF15A64F-F562-4639-9ADA-99EE58D5A701}" type="pres">
      <dgm:prSet presAssocID="{75EF618C-BDB1-4E9F-990B-A89F26180E70}" presName="posSpace" presStyleCnt="0"/>
      <dgm:spPr/>
    </dgm:pt>
    <dgm:pt modelId="{E00E17A5-1103-438A-87DA-7F0A35F3F580}" type="pres">
      <dgm:prSet presAssocID="{75EF618C-BDB1-4E9F-990B-A89F26180E70}" presName="vertFlow" presStyleCnt="0"/>
      <dgm:spPr/>
    </dgm:pt>
    <dgm:pt modelId="{72529487-0013-4D92-84AD-0F8A36B7CA15}" type="pres">
      <dgm:prSet presAssocID="{75EF618C-BDB1-4E9F-990B-A89F26180E70}" presName="topSpace" presStyleCnt="0"/>
      <dgm:spPr/>
    </dgm:pt>
    <dgm:pt modelId="{83A2E34B-F343-4852-8035-04799DF194A9}" type="pres">
      <dgm:prSet presAssocID="{75EF618C-BDB1-4E9F-990B-A89F26180E70}" presName="firstComp" presStyleCnt="0"/>
      <dgm:spPr/>
    </dgm:pt>
    <dgm:pt modelId="{1A05FC16-C614-4C98-8888-4C13A883B7A8}" type="pres">
      <dgm:prSet presAssocID="{75EF618C-BDB1-4E9F-990B-A89F26180E70}" presName="firstChild" presStyleLbl="bgAccFollowNode1" presStyleIdx="3" presStyleCnt="6"/>
      <dgm:spPr/>
    </dgm:pt>
    <dgm:pt modelId="{C3608531-6245-4DDE-BFA2-C072977A3ED6}" type="pres">
      <dgm:prSet presAssocID="{75EF618C-BDB1-4E9F-990B-A89F26180E70}" presName="firstChildTx" presStyleLbl="bgAccFollowNode1" presStyleIdx="3" presStyleCnt="6">
        <dgm:presLayoutVars>
          <dgm:bulletEnabled val="1"/>
        </dgm:presLayoutVars>
      </dgm:prSet>
      <dgm:spPr/>
    </dgm:pt>
    <dgm:pt modelId="{519149FF-2160-43F4-9FE4-D45B9ED63352}" type="pres">
      <dgm:prSet presAssocID="{CB295D2E-1724-483F-85EA-1299466E6A8B}" presName="comp" presStyleCnt="0"/>
      <dgm:spPr/>
    </dgm:pt>
    <dgm:pt modelId="{E6611974-2A3C-4CFA-B90F-942E9C0FC135}" type="pres">
      <dgm:prSet presAssocID="{CB295D2E-1724-483F-85EA-1299466E6A8B}" presName="child" presStyleLbl="bgAccFollowNode1" presStyleIdx="4" presStyleCnt="6"/>
      <dgm:spPr/>
    </dgm:pt>
    <dgm:pt modelId="{62FA5732-28A0-4902-89F0-F786890C6334}" type="pres">
      <dgm:prSet presAssocID="{CB295D2E-1724-483F-85EA-1299466E6A8B}" presName="childTx" presStyleLbl="bgAccFollowNode1" presStyleIdx="4" presStyleCnt="6">
        <dgm:presLayoutVars>
          <dgm:bulletEnabled val="1"/>
        </dgm:presLayoutVars>
      </dgm:prSet>
      <dgm:spPr/>
    </dgm:pt>
    <dgm:pt modelId="{F3684A09-4A75-4B4B-978E-9D4339B2F576}" type="pres">
      <dgm:prSet presAssocID="{825551D9-81BD-4418-9747-E185E71DB630}" presName="comp" presStyleCnt="0"/>
      <dgm:spPr/>
    </dgm:pt>
    <dgm:pt modelId="{7B0C2434-EE96-42FE-A4BE-A4511F2BC7AC}" type="pres">
      <dgm:prSet presAssocID="{825551D9-81BD-4418-9747-E185E71DB630}" presName="child" presStyleLbl="bgAccFollowNode1" presStyleIdx="5" presStyleCnt="6" custScaleY="121707"/>
      <dgm:spPr/>
    </dgm:pt>
    <dgm:pt modelId="{A72C9388-1157-4E11-84C6-F8E058C61113}" type="pres">
      <dgm:prSet presAssocID="{825551D9-81BD-4418-9747-E185E71DB630}" presName="childTx" presStyleLbl="bgAccFollowNode1" presStyleIdx="5" presStyleCnt="6">
        <dgm:presLayoutVars>
          <dgm:bulletEnabled val="1"/>
        </dgm:presLayoutVars>
      </dgm:prSet>
      <dgm:spPr/>
    </dgm:pt>
    <dgm:pt modelId="{7E19EA46-882A-47C3-9DBE-4ED3FC5F9D27}" type="pres">
      <dgm:prSet presAssocID="{75EF618C-BDB1-4E9F-990B-A89F26180E70}" presName="negSpace" presStyleCnt="0"/>
      <dgm:spPr/>
    </dgm:pt>
    <dgm:pt modelId="{AF76CFD8-02C8-4441-8215-EE5E775F4874}" type="pres">
      <dgm:prSet presAssocID="{75EF618C-BDB1-4E9F-990B-A89F26180E70}" presName="circle" presStyleLbl="node1" presStyleIdx="1" presStyleCnt="2"/>
      <dgm:spPr/>
    </dgm:pt>
  </dgm:ptLst>
  <dgm:cxnLst>
    <dgm:cxn modelId="{41539E08-EE7B-4767-9A2B-47BCC0F1DCEB}" type="presOf" srcId="{E9B051F2-D8AE-4C48-A067-686EB24C04AB}" destId="{1A05FC16-C614-4C98-8888-4C13A883B7A8}" srcOrd="0" destOrd="0" presId="urn:microsoft.com/office/officeart/2005/8/layout/hList9"/>
    <dgm:cxn modelId="{004ADA0D-0CC2-4415-BEE8-9E6995270A0F}" srcId="{75EF618C-BDB1-4E9F-990B-A89F26180E70}" destId="{825551D9-81BD-4418-9747-E185E71DB630}" srcOrd="2" destOrd="0" parTransId="{DB6905B0-3CBC-4687-862D-74DBB0482919}" sibTransId="{DEC0E6B0-95B6-42E1-A0AB-C07A986163FB}"/>
    <dgm:cxn modelId="{C9217015-DAEA-4A35-89C4-42D092103542}" type="presOf" srcId="{8A0F5997-B1DC-41AB-8DC2-0D5B043C49DC}" destId="{D827C44E-FCD4-4C0A-8AD8-90CD7E85E308}" srcOrd="0" destOrd="0" presId="urn:microsoft.com/office/officeart/2005/8/layout/hList9"/>
    <dgm:cxn modelId="{99DAE040-897C-443C-9DC2-12321DAD9700}" type="presOf" srcId="{CB295D2E-1724-483F-85EA-1299466E6A8B}" destId="{E6611974-2A3C-4CFA-B90F-942E9C0FC135}" srcOrd="0" destOrd="0" presId="urn:microsoft.com/office/officeart/2005/8/layout/hList9"/>
    <dgm:cxn modelId="{B34CFE69-F347-4112-A0E4-607223F92496}" srcId="{19B3EFC4-8A78-4741-9B76-F07EB8DA755A}" destId="{E20A7F6A-B29A-4D7A-9D2D-55051161F36A}" srcOrd="1" destOrd="0" parTransId="{9AA3F307-4FDB-4E79-83FC-0165F6A47B19}" sibTransId="{F3513846-5551-4AF3-B9D3-36F2A9777A2E}"/>
    <dgm:cxn modelId="{CF50E64B-C7B2-46F5-8B16-D835A10E62DE}" type="presOf" srcId="{ABB36983-0F4F-4148-9DAB-5AE4B59D00BA}" destId="{676942FA-DB2A-4DE6-B1A7-2C4F33875B04}" srcOrd="0" destOrd="0" presId="urn:microsoft.com/office/officeart/2005/8/layout/hList9"/>
    <dgm:cxn modelId="{7D6AAC56-4E6D-40B3-B594-50F69DA97939}" type="presOf" srcId="{825551D9-81BD-4418-9747-E185E71DB630}" destId="{A72C9388-1157-4E11-84C6-F8E058C61113}" srcOrd="1" destOrd="0" presId="urn:microsoft.com/office/officeart/2005/8/layout/hList9"/>
    <dgm:cxn modelId="{0C578684-FF1C-4205-9F4E-9AEC98302FB5}" type="presOf" srcId="{57871C86-6DDE-4954-A775-769AC619A6F5}" destId="{E553CB4C-163A-4FF9-8246-9DE67CF92F1B}" srcOrd="0" destOrd="0" presId="urn:microsoft.com/office/officeart/2005/8/layout/hList9"/>
    <dgm:cxn modelId="{D00B1A85-390F-494A-ABCA-0439062DFB47}" type="presOf" srcId="{E20A7F6A-B29A-4D7A-9D2D-55051161F36A}" destId="{508EB3A2-2D86-4F45-B444-1F787737756F}" srcOrd="1" destOrd="0" presId="urn:microsoft.com/office/officeart/2005/8/layout/hList9"/>
    <dgm:cxn modelId="{58FC7C8C-960D-49A8-B208-B7EF779187E8}" srcId="{75EF618C-BDB1-4E9F-990B-A89F26180E70}" destId="{E9B051F2-D8AE-4C48-A067-686EB24C04AB}" srcOrd="0" destOrd="0" parTransId="{F3861BD3-033C-44D7-9EC0-BC2C8295FE67}" sibTransId="{84996215-3488-462C-93A0-C1A816C80671}"/>
    <dgm:cxn modelId="{C9DF8C9A-31DE-4F26-AAAD-EE9B4F7E5C4E}" srcId="{8A0F5997-B1DC-41AB-8DC2-0D5B043C49DC}" destId="{19B3EFC4-8A78-4741-9B76-F07EB8DA755A}" srcOrd="0" destOrd="0" parTransId="{1E5786EF-00CB-4BAD-987D-F6A197BFB384}" sibTransId="{52C64453-D836-40EA-804E-9CD600D5DB98}"/>
    <dgm:cxn modelId="{F67E009B-AB28-4DB8-94C6-65D1803ED0CE}" srcId="{19B3EFC4-8A78-4741-9B76-F07EB8DA755A}" destId="{ABB36983-0F4F-4148-9DAB-5AE4B59D00BA}" srcOrd="0" destOrd="0" parTransId="{8731CEFF-CA29-4B6B-B748-C3F3B407BCF4}" sibTransId="{A2967654-248E-44D8-B612-DC295AF15119}"/>
    <dgm:cxn modelId="{F42D0A9E-A477-46C5-BB9F-05FCEB879795}" type="presOf" srcId="{19B3EFC4-8A78-4741-9B76-F07EB8DA755A}" destId="{6A0AB1BF-176D-4912-A558-069CD2444DE2}" srcOrd="0" destOrd="0" presId="urn:microsoft.com/office/officeart/2005/8/layout/hList9"/>
    <dgm:cxn modelId="{75A95EA2-37BA-4578-AD78-732C0911DE4E}" type="presOf" srcId="{75EF618C-BDB1-4E9F-990B-A89F26180E70}" destId="{AF76CFD8-02C8-4441-8215-EE5E775F4874}" srcOrd="0" destOrd="0" presId="urn:microsoft.com/office/officeart/2005/8/layout/hList9"/>
    <dgm:cxn modelId="{2B6B20AE-BF71-4A95-90A9-AB946AB764B0}" srcId="{75EF618C-BDB1-4E9F-990B-A89F26180E70}" destId="{CB295D2E-1724-483F-85EA-1299466E6A8B}" srcOrd="1" destOrd="0" parTransId="{C2943D54-E47C-406B-B351-21BD2D07FC25}" sibTransId="{265EDD8B-6576-43A6-8D10-5477AA6BBA1D}"/>
    <dgm:cxn modelId="{69A362BA-2CB5-4F75-A995-3D8B14C7EE2B}" srcId="{8A0F5997-B1DC-41AB-8DC2-0D5B043C49DC}" destId="{75EF618C-BDB1-4E9F-990B-A89F26180E70}" srcOrd="1" destOrd="0" parTransId="{CEAB8718-954F-4280-8360-025A1132AA4B}" sibTransId="{294DA2E7-12C7-4CC5-9129-6BA18309DFBA}"/>
    <dgm:cxn modelId="{FAC39EC2-D095-4C38-BB61-130836B36419}" srcId="{19B3EFC4-8A78-4741-9B76-F07EB8DA755A}" destId="{57871C86-6DDE-4954-A775-769AC619A6F5}" srcOrd="2" destOrd="0" parTransId="{CC98B98E-AE4A-46E2-B9FB-A639979E764C}" sibTransId="{49D354A5-2148-45AD-8253-3C4107A6FEAA}"/>
    <dgm:cxn modelId="{A53D0CC4-1084-471C-B0CC-DB6EF42DD793}" type="presOf" srcId="{ABB36983-0F4F-4148-9DAB-5AE4B59D00BA}" destId="{50836AAD-A6C5-4B70-BBD1-290237EAC5BC}" srcOrd="1" destOrd="0" presId="urn:microsoft.com/office/officeart/2005/8/layout/hList9"/>
    <dgm:cxn modelId="{507B1EC6-6F98-4A93-B12F-2C40BD27BD22}" type="presOf" srcId="{57871C86-6DDE-4954-A775-769AC619A6F5}" destId="{E4FB3ACF-3AE5-4BD9-9B9A-276B1046DAF6}" srcOrd="1" destOrd="0" presId="urn:microsoft.com/office/officeart/2005/8/layout/hList9"/>
    <dgm:cxn modelId="{AC7576D2-F009-43CF-8141-AB8627D2F17F}" type="presOf" srcId="{E20A7F6A-B29A-4D7A-9D2D-55051161F36A}" destId="{FC3D83FF-8FE1-411D-9168-38B0A3670960}" srcOrd="0" destOrd="0" presId="urn:microsoft.com/office/officeart/2005/8/layout/hList9"/>
    <dgm:cxn modelId="{E93525DB-E8A7-46AD-9B5F-9BC10C57E865}" type="presOf" srcId="{E9B051F2-D8AE-4C48-A067-686EB24C04AB}" destId="{C3608531-6245-4DDE-BFA2-C072977A3ED6}" srcOrd="1" destOrd="0" presId="urn:microsoft.com/office/officeart/2005/8/layout/hList9"/>
    <dgm:cxn modelId="{681CA5F4-3371-4939-8752-C8F15BD4BA2A}" type="presOf" srcId="{CB295D2E-1724-483F-85EA-1299466E6A8B}" destId="{62FA5732-28A0-4902-89F0-F786890C6334}" srcOrd="1" destOrd="0" presId="urn:microsoft.com/office/officeart/2005/8/layout/hList9"/>
    <dgm:cxn modelId="{A85D61FA-73A5-4929-AD41-035F6ABF3847}" type="presOf" srcId="{825551D9-81BD-4418-9747-E185E71DB630}" destId="{7B0C2434-EE96-42FE-A4BE-A4511F2BC7AC}" srcOrd="0" destOrd="0" presId="urn:microsoft.com/office/officeart/2005/8/layout/hList9"/>
    <dgm:cxn modelId="{27A8E793-D81F-4E50-9EBD-BFD36440519A}" type="presParOf" srcId="{D827C44E-FCD4-4C0A-8AD8-90CD7E85E308}" destId="{59EE10B7-170A-40BE-A091-E90E7F3D9971}" srcOrd="0" destOrd="0" presId="urn:microsoft.com/office/officeart/2005/8/layout/hList9"/>
    <dgm:cxn modelId="{B477C513-7E8F-4F77-B06E-56A077A7048A}" type="presParOf" srcId="{D827C44E-FCD4-4C0A-8AD8-90CD7E85E308}" destId="{CD03578D-B52C-4016-B7E7-B27CCA9A6C38}" srcOrd="1" destOrd="0" presId="urn:microsoft.com/office/officeart/2005/8/layout/hList9"/>
    <dgm:cxn modelId="{A5C26D45-FA76-468A-9E69-5211EC91EE00}" type="presParOf" srcId="{CD03578D-B52C-4016-B7E7-B27CCA9A6C38}" destId="{A48453A1-3BA8-4459-B16C-AE4FFF511469}" srcOrd="0" destOrd="0" presId="urn:microsoft.com/office/officeart/2005/8/layout/hList9"/>
    <dgm:cxn modelId="{220A4BD6-9AB8-4894-8D88-1FA60507BFC9}" type="presParOf" srcId="{CD03578D-B52C-4016-B7E7-B27CCA9A6C38}" destId="{147DBEE5-FD45-4681-A5D4-94C5E701AC45}" srcOrd="1" destOrd="0" presId="urn:microsoft.com/office/officeart/2005/8/layout/hList9"/>
    <dgm:cxn modelId="{80537F92-CA2C-4D82-A0C5-8611744DE745}" type="presParOf" srcId="{147DBEE5-FD45-4681-A5D4-94C5E701AC45}" destId="{676942FA-DB2A-4DE6-B1A7-2C4F33875B04}" srcOrd="0" destOrd="0" presId="urn:microsoft.com/office/officeart/2005/8/layout/hList9"/>
    <dgm:cxn modelId="{4C74A507-4B16-44DF-BF9C-E7572D367295}" type="presParOf" srcId="{147DBEE5-FD45-4681-A5D4-94C5E701AC45}" destId="{50836AAD-A6C5-4B70-BBD1-290237EAC5BC}" srcOrd="1" destOrd="0" presId="urn:microsoft.com/office/officeart/2005/8/layout/hList9"/>
    <dgm:cxn modelId="{FD4242C8-CE01-4CE0-A07F-88474AB062D5}" type="presParOf" srcId="{CD03578D-B52C-4016-B7E7-B27CCA9A6C38}" destId="{B5A55224-3B38-4FAB-8F27-8AF2BB81A010}" srcOrd="2" destOrd="0" presId="urn:microsoft.com/office/officeart/2005/8/layout/hList9"/>
    <dgm:cxn modelId="{66D6D3E0-E2C2-4D61-9A4C-D5CF85C6D746}" type="presParOf" srcId="{B5A55224-3B38-4FAB-8F27-8AF2BB81A010}" destId="{FC3D83FF-8FE1-411D-9168-38B0A3670960}" srcOrd="0" destOrd="0" presId="urn:microsoft.com/office/officeart/2005/8/layout/hList9"/>
    <dgm:cxn modelId="{F83B1BE1-FECF-405F-A57B-A90CD707B891}" type="presParOf" srcId="{B5A55224-3B38-4FAB-8F27-8AF2BB81A010}" destId="{508EB3A2-2D86-4F45-B444-1F787737756F}" srcOrd="1" destOrd="0" presId="urn:microsoft.com/office/officeart/2005/8/layout/hList9"/>
    <dgm:cxn modelId="{793DA507-0020-4389-8793-8D4A210DD53E}" type="presParOf" srcId="{CD03578D-B52C-4016-B7E7-B27CCA9A6C38}" destId="{D9492CF5-23D4-4A0A-A6CF-DD8FF1AAC9CB}" srcOrd="3" destOrd="0" presId="urn:microsoft.com/office/officeart/2005/8/layout/hList9"/>
    <dgm:cxn modelId="{00F668FD-2308-43D6-A7AE-36057597BF14}" type="presParOf" srcId="{D9492CF5-23D4-4A0A-A6CF-DD8FF1AAC9CB}" destId="{E553CB4C-163A-4FF9-8246-9DE67CF92F1B}" srcOrd="0" destOrd="0" presId="urn:microsoft.com/office/officeart/2005/8/layout/hList9"/>
    <dgm:cxn modelId="{58F0B452-BAD8-499B-B1F7-D4E6D5C43939}" type="presParOf" srcId="{D9492CF5-23D4-4A0A-A6CF-DD8FF1AAC9CB}" destId="{E4FB3ACF-3AE5-4BD9-9B9A-276B1046DAF6}" srcOrd="1" destOrd="0" presId="urn:microsoft.com/office/officeart/2005/8/layout/hList9"/>
    <dgm:cxn modelId="{50FB0F3F-CF76-4C74-BB37-A9DF9B0F98BA}" type="presParOf" srcId="{D827C44E-FCD4-4C0A-8AD8-90CD7E85E308}" destId="{42441BD1-3404-4F89-9AA0-95F01DD1601E}" srcOrd="2" destOrd="0" presId="urn:microsoft.com/office/officeart/2005/8/layout/hList9"/>
    <dgm:cxn modelId="{AA469E7B-FF61-446F-94A2-EB8168244B06}" type="presParOf" srcId="{D827C44E-FCD4-4C0A-8AD8-90CD7E85E308}" destId="{6A0AB1BF-176D-4912-A558-069CD2444DE2}" srcOrd="3" destOrd="0" presId="urn:microsoft.com/office/officeart/2005/8/layout/hList9"/>
    <dgm:cxn modelId="{80694592-DCAD-433F-AF9F-02DF76D183F9}" type="presParOf" srcId="{D827C44E-FCD4-4C0A-8AD8-90CD7E85E308}" destId="{72DF805D-8D69-4FEE-A9B9-C009AF17FAFE}" srcOrd="4" destOrd="0" presId="urn:microsoft.com/office/officeart/2005/8/layout/hList9"/>
    <dgm:cxn modelId="{E2554CDB-F752-4A8D-8B2B-7F77E5E01E93}" type="presParOf" srcId="{D827C44E-FCD4-4C0A-8AD8-90CD7E85E308}" destId="{AF15A64F-F562-4639-9ADA-99EE58D5A701}" srcOrd="5" destOrd="0" presId="urn:microsoft.com/office/officeart/2005/8/layout/hList9"/>
    <dgm:cxn modelId="{81524059-782D-4D8B-93E0-CC22B50A2188}" type="presParOf" srcId="{D827C44E-FCD4-4C0A-8AD8-90CD7E85E308}" destId="{E00E17A5-1103-438A-87DA-7F0A35F3F580}" srcOrd="6" destOrd="0" presId="urn:microsoft.com/office/officeart/2005/8/layout/hList9"/>
    <dgm:cxn modelId="{8A2F8931-EAB8-4261-B46E-006B0824EE88}" type="presParOf" srcId="{E00E17A5-1103-438A-87DA-7F0A35F3F580}" destId="{72529487-0013-4D92-84AD-0F8A36B7CA15}" srcOrd="0" destOrd="0" presId="urn:microsoft.com/office/officeart/2005/8/layout/hList9"/>
    <dgm:cxn modelId="{1F8AE6D4-E223-450C-86FF-FD9C3133C0A3}" type="presParOf" srcId="{E00E17A5-1103-438A-87DA-7F0A35F3F580}" destId="{83A2E34B-F343-4852-8035-04799DF194A9}" srcOrd="1" destOrd="0" presId="urn:microsoft.com/office/officeart/2005/8/layout/hList9"/>
    <dgm:cxn modelId="{8B795C41-40B5-40A0-A5A6-887344502CA1}" type="presParOf" srcId="{83A2E34B-F343-4852-8035-04799DF194A9}" destId="{1A05FC16-C614-4C98-8888-4C13A883B7A8}" srcOrd="0" destOrd="0" presId="urn:microsoft.com/office/officeart/2005/8/layout/hList9"/>
    <dgm:cxn modelId="{9803F331-3247-4B0D-BCE7-2F02825FCB58}" type="presParOf" srcId="{83A2E34B-F343-4852-8035-04799DF194A9}" destId="{C3608531-6245-4DDE-BFA2-C072977A3ED6}" srcOrd="1" destOrd="0" presId="urn:microsoft.com/office/officeart/2005/8/layout/hList9"/>
    <dgm:cxn modelId="{516285E7-A1DB-4727-A763-5F9C0945F8A2}" type="presParOf" srcId="{E00E17A5-1103-438A-87DA-7F0A35F3F580}" destId="{519149FF-2160-43F4-9FE4-D45B9ED63352}" srcOrd="2" destOrd="0" presId="urn:microsoft.com/office/officeart/2005/8/layout/hList9"/>
    <dgm:cxn modelId="{2334A8E5-93DC-4BBD-AB1E-F196C1497411}" type="presParOf" srcId="{519149FF-2160-43F4-9FE4-D45B9ED63352}" destId="{E6611974-2A3C-4CFA-B90F-942E9C0FC135}" srcOrd="0" destOrd="0" presId="urn:microsoft.com/office/officeart/2005/8/layout/hList9"/>
    <dgm:cxn modelId="{A63079BE-6F4A-4C7B-9FD1-8B1E007B153C}" type="presParOf" srcId="{519149FF-2160-43F4-9FE4-D45B9ED63352}" destId="{62FA5732-28A0-4902-89F0-F786890C6334}" srcOrd="1" destOrd="0" presId="urn:microsoft.com/office/officeart/2005/8/layout/hList9"/>
    <dgm:cxn modelId="{25EC4B8B-206E-4942-AC00-46CE7F4A4601}" type="presParOf" srcId="{E00E17A5-1103-438A-87DA-7F0A35F3F580}" destId="{F3684A09-4A75-4B4B-978E-9D4339B2F576}" srcOrd="3" destOrd="0" presId="urn:microsoft.com/office/officeart/2005/8/layout/hList9"/>
    <dgm:cxn modelId="{17CED3B3-282F-4E2B-AB00-4FEF1A59841F}" type="presParOf" srcId="{F3684A09-4A75-4B4B-978E-9D4339B2F576}" destId="{7B0C2434-EE96-42FE-A4BE-A4511F2BC7AC}" srcOrd="0" destOrd="0" presId="urn:microsoft.com/office/officeart/2005/8/layout/hList9"/>
    <dgm:cxn modelId="{02AF14DD-EB3E-47FA-A675-2FE0E22C1F83}" type="presParOf" srcId="{F3684A09-4A75-4B4B-978E-9D4339B2F576}" destId="{A72C9388-1157-4E11-84C6-F8E058C61113}" srcOrd="1" destOrd="0" presId="urn:microsoft.com/office/officeart/2005/8/layout/hList9"/>
    <dgm:cxn modelId="{2E2B464C-76BC-4AD9-A61E-7CF7EC564C77}" type="presParOf" srcId="{D827C44E-FCD4-4C0A-8AD8-90CD7E85E308}" destId="{7E19EA46-882A-47C3-9DBE-4ED3FC5F9D27}" srcOrd="7" destOrd="0" presId="urn:microsoft.com/office/officeart/2005/8/layout/hList9"/>
    <dgm:cxn modelId="{78325E1A-42B4-44EE-AD30-9683F5747F01}" type="presParOf" srcId="{D827C44E-FCD4-4C0A-8AD8-90CD7E85E308}" destId="{AF76CFD8-02C8-4441-8215-EE5E775F4874}" srcOrd="8" destOrd="0" presId="urn:microsoft.com/office/officeart/2005/8/layout/hList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A0F5997-B1DC-41AB-8DC2-0D5B043C49DC}" type="doc">
      <dgm:prSet loTypeId="urn:microsoft.com/office/officeart/2005/8/layout/hList9" loCatId="list" qsTypeId="urn:microsoft.com/office/officeart/2005/8/quickstyle/simple1" qsCatId="simple" csTypeId="urn:microsoft.com/office/officeart/2005/8/colors/accent1_2" csCatId="accent1" phldr="1"/>
      <dgm:spPr/>
      <dgm:t>
        <a:bodyPr/>
        <a:lstStyle/>
        <a:p>
          <a:endParaRPr lang="en-US"/>
        </a:p>
      </dgm:t>
    </dgm:pt>
    <dgm:pt modelId="{19B3EFC4-8A78-4741-9B76-F07EB8DA755A}">
      <dgm:prSet phldrT="[Text]" custT="1"/>
      <dgm:spPr/>
      <dgm:t>
        <a:bodyPr/>
        <a:lstStyle/>
        <a:p>
          <a:r>
            <a:rPr lang="en-US" sz="900" dirty="0">
              <a:latin typeface="Calibri" panose="020F0502020204030204" pitchFamily="34" charset="0"/>
            </a:rPr>
            <a:t>Data</a:t>
          </a:r>
        </a:p>
      </dgm:t>
    </dgm:pt>
    <dgm:pt modelId="{1E5786EF-00CB-4BAD-987D-F6A197BFB384}" cxnId="{C9DF8C9A-31DE-4F26-AAAD-EE9B4F7E5C4E}" type="parTrans">
      <dgm:prSet/>
      <dgm:spPr/>
      <dgm:t>
        <a:bodyPr/>
        <a:lstStyle/>
        <a:p>
          <a:endParaRPr lang="en-US" sz="900">
            <a:latin typeface="Calibri" panose="020F0502020204030204" pitchFamily="34" charset="0"/>
          </a:endParaRPr>
        </a:p>
      </dgm:t>
    </dgm:pt>
    <dgm:pt modelId="{52C64453-D836-40EA-804E-9CD600D5DB98}" cxnId="{C9DF8C9A-31DE-4F26-AAAD-EE9B4F7E5C4E}" type="sibTrans">
      <dgm:prSet/>
      <dgm:spPr/>
      <dgm:t>
        <a:bodyPr/>
        <a:lstStyle/>
        <a:p>
          <a:endParaRPr lang="en-US" sz="900">
            <a:latin typeface="Calibri" panose="020F0502020204030204" pitchFamily="34" charset="0"/>
          </a:endParaRPr>
        </a:p>
      </dgm:t>
    </dgm:pt>
    <dgm:pt modelId="{ABB36983-0F4F-4148-9DAB-5AE4B59D00BA}">
      <dgm:prSet phldrT="[Text]" custT="1"/>
      <dgm:spPr>
        <a:solidFill>
          <a:schemeClr val="bg1">
            <a:lumMod val="95000"/>
          </a:schemeClr>
        </a:solidFill>
      </dgm:spPr>
      <dgm:t>
        <a:bodyPr/>
        <a:lstStyle/>
        <a:p>
          <a:pPr algn="ctr"/>
          <a:r>
            <a:rPr lang="en-US" sz="900" b="1" dirty="0">
              <a:solidFill>
                <a:schemeClr val="tx1"/>
              </a:solidFill>
              <a:latin typeface="Calibri" panose="020F0502020204030204" pitchFamily="34" charset="0"/>
            </a:rPr>
            <a:t>Risk Parameters (Sharpe, Beta)</a:t>
          </a:r>
        </a:p>
      </dgm:t>
    </dgm:pt>
    <dgm:pt modelId="{8731CEFF-CA29-4B6B-B748-C3F3B407BCF4}" cxnId="{F67E009B-AB28-4DB8-94C6-65D1803ED0CE}" type="parTrans">
      <dgm:prSet/>
      <dgm:spPr/>
      <dgm:t>
        <a:bodyPr/>
        <a:lstStyle/>
        <a:p>
          <a:endParaRPr lang="en-US" sz="900">
            <a:latin typeface="Calibri" panose="020F0502020204030204" pitchFamily="34" charset="0"/>
          </a:endParaRPr>
        </a:p>
      </dgm:t>
    </dgm:pt>
    <dgm:pt modelId="{A2967654-248E-44D8-B612-DC295AF15119}" cxnId="{F67E009B-AB28-4DB8-94C6-65D1803ED0CE}" type="sibTrans">
      <dgm:prSet/>
      <dgm:spPr/>
      <dgm:t>
        <a:bodyPr/>
        <a:lstStyle/>
        <a:p>
          <a:endParaRPr lang="en-US" sz="900">
            <a:latin typeface="Calibri" panose="020F0502020204030204" pitchFamily="34" charset="0"/>
          </a:endParaRPr>
        </a:p>
      </dgm:t>
    </dgm:pt>
    <dgm:pt modelId="{75EF618C-BDB1-4E9F-990B-A89F26180E70}">
      <dgm:prSet phldrT="[Text]" custT="1"/>
      <dgm:spPr/>
      <dgm:t>
        <a:bodyPr/>
        <a:lstStyle/>
        <a:p>
          <a:r>
            <a:rPr lang="en-US" sz="900" dirty="0">
              <a:latin typeface="Calibri" panose="020F0502020204030204" pitchFamily="34" charset="0"/>
            </a:rPr>
            <a:t>Information</a:t>
          </a:r>
        </a:p>
      </dgm:t>
    </dgm:pt>
    <dgm:pt modelId="{CEAB8718-954F-4280-8360-025A1132AA4B}" cxnId="{69A362BA-2CB5-4F75-A995-3D8B14C7EE2B}" type="parTrans">
      <dgm:prSet/>
      <dgm:spPr/>
      <dgm:t>
        <a:bodyPr/>
        <a:lstStyle/>
        <a:p>
          <a:endParaRPr lang="en-US" sz="900">
            <a:latin typeface="Calibri" panose="020F0502020204030204" pitchFamily="34" charset="0"/>
          </a:endParaRPr>
        </a:p>
      </dgm:t>
    </dgm:pt>
    <dgm:pt modelId="{294DA2E7-12C7-4CC5-9129-6BA18309DFBA}" cxnId="{69A362BA-2CB5-4F75-A995-3D8B14C7EE2B}" type="sibTrans">
      <dgm:prSet/>
      <dgm:spPr/>
      <dgm:t>
        <a:bodyPr/>
        <a:lstStyle/>
        <a:p>
          <a:endParaRPr lang="en-US" sz="900">
            <a:latin typeface="Calibri" panose="020F0502020204030204" pitchFamily="34" charset="0"/>
          </a:endParaRPr>
        </a:p>
      </dgm:t>
    </dgm:pt>
    <dgm:pt modelId="{E9B051F2-D8AE-4C48-A067-686EB24C04AB}">
      <dgm:prSet phldrT="[Text]" custT="1"/>
      <dgm:spPr>
        <a:solidFill>
          <a:schemeClr val="bg1"/>
        </a:solidFill>
      </dgm:spPr>
      <dgm:t>
        <a:bodyPr/>
        <a:lstStyle/>
        <a:p>
          <a:pPr algn="ctr"/>
          <a:r>
            <a:rPr lang="en-US" sz="900" dirty="0">
              <a:latin typeface="Calibri" panose="020F0502020204030204" pitchFamily="34" charset="0"/>
            </a:rPr>
            <a:t>Top Holdings, detailed Portfolio</a:t>
          </a:r>
        </a:p>
      </dgm:t>
    </dgm:pt>
    <dgm:pt modelId="{F3861BD3-033C-44D7-9EC0-BC2C8295FE67}" cxnId="{58FC7C8C-960D-49A8-B208-B7EF779187E8}" type="parTrans">
      <dgm:prSet/>
      <dgm:spPr/>
      <dgm:t>
        <a:bodyPr/>
        <a:lstStyle/>
        <a:p>
          <a:endParaRPr lang="en-US" sz="900">
            <a:latin typeface="Calibri" panose="020F0502020204030204" pitchFamily="34" charset="0"/>
          </a:endParaRPr>
        </a:p>
      </dgm:t>
    </dgm:pt>
    <dgm:pt modelId="{84996215-3488-462C-93A0-C1A816C80671}" cxnId="{58FC7C8C-960D-49A8-B208-B7EF779187E8}" type="sibTrans">
      <dgm:prSet/>
      <dgm:spPr/>
      <dgm:t>
        <a:bodyPr/>
        <a:lstStyle/>
        <a:p>
          <a:endParaRPr lang="en-US" sz="900">
            <a:latin typeface="Calibri" panose="020F0502020204030204" pitchFamily="34" charset="0"/>
          </a:endParaRPr>
        </a:p>
      </dgm:t>
    </dgm:pt>
    <dgm:pt modelId="{825551D9-81BD-4418-9747-E185E71DB630}">
      <dgm:prSet phldrT="[Text]" custT="1"/>
      <dgm:spPr>
        <a:solidFill>
          <a:schemeClr val="bg1">
            <a:alpha val="90000"/>
          </a:schemeClr>
        </a:solidFill>
      </dgm:spPr>
      <dgm:t>
        <a:bodyPr/>
        <a:lstStyle/>
        <a:p>
          <a:pPr algn="ctr"/>
          <a:r>
            <a:rPr lang="en-US" sz="900" dirty="0">
              <a:latin typeface="Calibri" panose="020F0502020204030204" pitchFamily="34" charset="0"/>
            </a:rPr>
            <a:t>Fund Manager Interaction</a:t>
          </a:r>
        </a:p>
      </dgm:t>
    </dgm:pt>
    <dgm:pt modelId="{DB6905B0-3CBC-4687-862D-74DBB0482919}" cxnId="{004ADA0D-0CC2-4415-BEE8-9E6995270A0F}" type="parTrans">
      <dgm:prSet/>
      <dgm:spPr/>
      <dgm:t>
        <a:bodyPr/>
        <a:lstStyle/>
        <a:p>
          <a:endParaRPr lang="en-US" sz="900">
            <a:latin typeface="Calibri" panose="020F0502020204030204" pitchFamily="34" charset="0"/>
          </a:endParaRPr>
        </a:p>
      </dgm:t>
    </dgm:pt>
    <dgm:pt modelId="{DEC0E6B0-95B6-42E1-A0AB-C07A986163FB}" cxnId="{004ADA0D-0CC2-4415-BEE8-9E6995270A0F}" type="sibTrans">
      <dgm:prSet/>
      <dgm:spPr/>
      <dgm:t>
        <a:bodyPr/>
        <a:lstStyle/>
        <a:p>
          <a:endParaRPr lang="en-US" sz="900">
            <a:latin typeface="Calibri" panose="020F0502020204030204" pitchFamily="34" charset="0"/>
          </a:endParaRPr>
        </a:p>
      </dgm:t>
    </dgm:pt>
    <dgm:pt modelId="{DBEECD9E-7D48-4A73-9541-BB91E82703A6}">
      <dgm:prSet custT="1"/>
      <dgm:spPr>
        <a:solidFill>
          <a:schemeClr val="bg1">
            <a:alpha val="90000"/>
          </a:schemeClr>
        </a:solidFill>
      </dgm:spPr>
      <dgm:t>
        <a:bodyPr/>
        <a:lstStyle/>
        <a:p>
          <a:pPr algn="ctr"/>
          <a:r>
            <a:rPr lang="en-US" sz="900" dirty="0">
              <a:latin typeface="Calibri" panose="020F0502020204030204" pitchFamily="34" charset="0"/>
            </a:rPr>
            <a:t>Historical Performance</a:t>
          </a:r>
        </a:p>
      </dgm:t>
    </dgm:pt>
    <dgm:pt modelId="{50E5293B-7546-4236-9EC9-513C5501CE7F}" cxnId="{D868E7F3-9A6F-4AB2-A9A4-0A05C5C80267}" type="parTrans">
      <dgm:prSet/>
      <dgm:spPr/>
      <dgm:t>
        <a:bodyPr/>
        <a:lstStyle/>
        <a:p>
          <a:endParaRPr lang="en-US" sz="900">
            <a:latin typeface="Calibri" panose="020F0502020204030204" pitchFamily="34" charset="0"/>
          </a:endParaRPr>
        </a:p>
      </dgm:t>
    </dgm:pt>
    <dgm:pt modelId="{A1D8706F-2805-490F-BD3F-92F31157AF77}" cxnId="{D868E7F3-9A6F-4AB2-A9A4-0A05C5C80267}" type="sibTrans">
      <dgm:prSet/>
      <dgm:spPr/>
      <dgm:t>
        <a:bodyPr/>
        <a:lstStyle/>
        <a:p>
          <a:endParaRPr lang="en-US" sz="900">
            <a:latin typeface="Calibri" panose="020F0502020204030204" pitchFamily="34" charset="0"/>
          </a:endParaRPr>
        </a:p>
      </dgm:t>
    </dgm:pt>
    <dgm:pt modelId="{15B4A616-5991-448F-951B-025D89439FCE}">
      <dgm:prSet custT="1"/>
      <dgm:spPr>
        <a:solidFill>
          <a:schemeClr val="bg1">
            <a:alpha val="90000"/>
          </a:schemeClr>
        </a:solidFill>
      </dgm:spPr>
      <dgm:t>
        <a:bodyPr/>
        <a:lstStyle/>
        <a:p>
          <a:pPr algn="ctr"/>
          <a:r>
            <a:rPr lang="en-US" sz="900" dirty="0">
              <a:latin typeface="Calibri" panose="020F0502020204030204" pitchFamily="34" charset="0"/>
            </a:rPr>
            <a:t>Rolling returns &amp; Quartile Analysis</a:t>
          </a:r>
        </a:p>
      </dgm:t>
    </dgm:pt>
    <dgm:pt modelId="{7FC58891-2644-4934-86E9-4BBD22D2BF48}" cxnId="{A6CB64AF-BB51-46E6-83EC-BEF436BF0CBB}" type="parTrans">
      <dgm:prSet/>
      <dgm:spPr/>
      <dgm:t>
        <a:bodyPr/>
        <a:lstStyle/>
        <a:p>
          <a:endParaRPr lang="en-US" sz="900">
            <a:latin typeface="Calibri" panose="020F0502020204030204" pitchFamily="34" charset="0"/>
          </a:endParaRPr>
        </a:p>
      </dgm:t>
    </dgm:pt>
    <dgm:pt modelId="{189142A6-0877-435D-A1EB-BFC565989DB3}" cxnId="{A6CB64AF-BB51-46E6-83EC-BEF436BF0CBB}" type="sibTrans">
      <dgm:prSet/>
      <dgm:spPr/>
      <dgm:t>
        <a:bodyPr/>
        <a:lstStyle/>
        <a:p>
          <a:endParaRPr lang="en-US" sz="900">
            <a:latin typeface="Calibri" panose="020F0502020204030204" pitchFamily="34" charset="0"/>
          </a:endParaRPr>
        </a:p>
      </dgm:t>
    </dgm:pt>
    <dgm:pt modelId="{3CB867DE-A6A6-4E62-BEA0-EE9C1128C065}">
      <dgm:prSet custT="1"/>
      <dgm:spPr>
        <a:solidFill>
          <a:schemeClr val="bg1">
            <a:lumMod val="95000"/>
            <a:alpha val="90000"/>
          </a:schemeClr>
        </a:solidFill>
      </dgm:spPr>
      <dgm:t>
        <a:bodyPr/>
        <a:lstStyle/>
        <a:p>
          <a:pPr algn="ctr"/>
          <a:r>
            <a:rPr lang="en-US" sz="900" b="1" dirty="0">
              <a:solidFill>
                <a:schemeClr val="tx1"/>
              </a:solidFill>
              <a:latin typeface="Calibri" panose="020F0502020204030204" pitchFamily="34" charset="0"/>
            </a:rPr>
            <a:t>Sector Overweight/</a:t>
          </a:r>
        </a:p>
        <a:p>
          <a:pPr algn="ctr"/>
          <a:r>
            <a:rPr lang="en-US" sz="900" b="1" dirty="0">
              <a:solidFill>
                <a:schemeClr val="tx1"/>
              </a:solidFill>
              <a:latin typeface="Calibri" panose="020F0502020204030204" pitchFamily="34" charset="0"/>
            </a:rPr>
            <a:t>Underweight </a:t>
          </a:r>
        </a:p>
      </dgm:t>
    </dgm:pt>
    <dgm:pt modelId="{6DA3EAF2-F30B-4D8E-866C-01CB9FDC7461}" cxnId="{DEB98A42-F7C0-44D7-A718-4D5E9EFC5C86}" type="parTrans">
      <dgm:prSet/>
      <dgm:spPr/>
      <dgm:t>
        <a:bodyPr/>
        <a:lstStyle/>
        <a:p>
          <a:endParaRPr lang="en-US" sz="900">
            <a:latin typeface="Calibri" panose="020F0502020204030204" pitchFamily="34" charset="0"/>
          </a:endParaRPr>
        </a:p>
      </dgm:t>
    </dgm:pt>
    <dgm:pt modelId="{D2BB3FD3-6F4F-4906-BDC7-2A6CF08EE344}" cxnId="{DEB98A42-F7C0-44D7-A718-4D5E9EFC5C86}" type="sibTrans">
      <dgm:prSet/>
      <dgm:spPr/>
      <dgm:t>
        <a:bodyPr/>
        <a:lstStyle/>
        <a:p>
          <a:endParaRPr lang="en-US" sz="900">
            <a:latin typeface="Calibri" panose="020F0502020204030204" pitchFamily="34" charset="0"/>
          </a:endParaRPr>
        </a:p>
      </dgm:t>
    </dgm:pt>
    <dgm:pt modelId="{D827C44E-FCD4-4C0A-8AD8-90CD7E85E308}" type="pres">
      <dgm:prSet presAssocID="{8A0F5997-B1DC-41AB-8DC2-0D5B043C49DC}" presName="list" presStyleCnt="0">
        <dgm:presLayoutVars>
          <dgm:dir/>
          <dgm:animLvl val="lvl"/>
        </dgm:presLayoutVars>
      </dgm:prSet>
      <dgm:spPr/>
    </dgm:pt>
    <dgm:pt modelId="{59EE10B7-170A-40BE-A091-E90E7F3D9971}" type="pres">
      <dgm:prSet presAssocID="{19B3EFC4-8A78-4741-9B76-F07EB8DA755A}" presName="posSpace" presStyleCnt="0"/>
      <dgm:spPr/>
    </dgm:pt>
    <dgm:pt modelId="{CD03578D-B52C-4016-B7E7-B27CCA9A6C38}" type="pres">
      <dgm:prSet presAssocID="{19B3EFC4-8A78-4741-9B76-F07EB8DA755A}" presName="vertFlow" presStyleCnt="0"/>
      <dgm:spPr/>
    </dgm:pt>
    <dgm:pt modelId="{A48453A1-3BA8-4459-B16C-AE4FFF511469}" type="pres">
      <dgm:prSet presAssocID="{19B3EFC4-8A78-4741-9B76-F07EB8DA755A}" presName="topSpace" presStyleCnt="0"/>
      <dgm:spPr/>
    </dgm:pt>
    <dgm:pt modelId="{147DBEE5-FD45-4681-A5D4-94C5E701AC45}" type="pres">
      <dgm:prSet presAssocID="{19B3EFC4-8A78-4741-9B76-F07EB8DA755A}" presName="firstComp" presStyleCnt="0"/>
      <dgm:spPr/>
    </dgm:pt>
    <dgm:pt modelId="{676942FA-DB2A-4DE6-B1A7-2C4F33875B04}" type="pres">
      <dgm:prSet presAssocID="{19B3EFC4-8A78-4741-9B76-F07EB8DA755A}" presName="firstChild" presStyleLbl="bgAccFollowNode1" presStyleIdx="0" presStyleCnt="6"/>
      <dgm:spPr/>
    </dgm:pt>
    <dgm:pt modelId="{50836AAD-A6C5-4B70-BBD1-290237EAC5BC}" type="pres">
      <dgm:prSet presAssocID="{19B3EFC4-8A78-4741-9B76-F07EB8DA755A}" presName="firstChildTx" presStyleLbl="bgAccFollowNode1" presStyleIdx="0" presStyleCnt="6">
        <dgm:presLayoutVars>
          <dgm:bulletEnabled val="1"/>
        </dgm:presLayoutVars>
      </dgm:prSet>
      <dgm:spPr/>
    </dgm:pt>
    <dgm:pt modelId="{D3E6468D-7CCF-4BCE-AC94-DF8A2BD6B034}" type="pres">
      <dgm:prSet presAssocID="{ABB36983-0F4F-4148-9DAB-5AE4B59D00BA}" presName="comp" presStyleCnt="0"/>
      <dgm:spPr/>
    </dgm:pt>
    <dgm:pt modelId="{BB06E5AE-F59D-4E03-A17E-35530D11C49F}" type="pres">
      <dgm:prSet presAssocID="{ABB36983-0F4F-4148-9DAB-5AE4B59D00BA}" presName="child" presStyleLbl="bgAccFollowNode1" presStyleIdx="1" presStyleCnt="6"/>
      <dgm:spPr/>
    </dgm:pt>
    <dgm:pt modelId="{0F192443-75FB-445C-9163-2E2E0981CCB7}" type="pres">
      <dgm:prSet presAssocID="{ABB36983-0F4F-4148-9DAB-5AE4B59D00BA}" presName="childTx" presStyleLbl="bgAccFollowNode1" presStyleIdx="1" presStyleCnt="6">
        <dgm:presLayoutVars>
          <dgm:bulletEnabled val="1"/>
        </dgm:presLayoutVars>
      </dgm:prSet>
      <dgm:spPr/>
    </dgm:pt>
    <dgm:pt modelId="{23607819-17C9-4B58-9F03-10E60C42F555}" type="pres">
      <dgm:prSet presAssocID="{15B4A616-5991-448F-951B-025D89439FCE}" presName="comp" presStyleCnt="0"/>
      <dgm:spPr/>
    </dgm:pt>
    <dgm:pt modelId="{5F6F0EEC-FE4B-4A9D-9369-A703EFCFD1AC}" type="pres">
      <dgm:prSet presAssocID="{15B4A616-5991-448F-951B-025D89439FCE}" presName="child" presStyleLbl="bgAccFollowNode1" presStyleIdx="2" presStyleCnt="6"/>
      <dgm:spPr/>
    </dgm:pt>
    <dgm:pt modelId="{93F4E351-7064-49B0-BAE7-C8B05C462B8B}" type="pres">
      <dgm:prSet presAssocID="{15B4A616-5991-448F-951B-025D89439FCE}" presName="childTx" presStyleLbl="bgAccFollowNode1" presStyleIdx="2" presStyleCnt="6">
        <dgm:presLayoutVars>
          <dgm:bulletEnabled val="1"/>
        </dgm:presLayoutVars>
      </dgm:prSet>
      <dgm:spPr/>
    </dgm:pt>
    <dgm:pt modelId="{42441BD1-3404-4F89-9AA0-95F01DD1601E}" type="pres">
      <dgm:prSet presAssocID="{19B3EFC4-8A78-4741-9B76-F07EB8DA755A}" presName="negSpace" presStyleCnt="0"/>
      <dgm:spPr/>
    </dgm:pt>
    <dgm:pt modelId="{6A0AB1BF-176D-4912-A558-069CD2444DE2}" type="pres">
      <dgm:prSet presAssocID="{19B3EFC4-8A78-4741-9B76-F07EB8DA755A}" presName="circle" presStyleLbl="node1" presStyleIdx="0" presStyleCnt="2"/>
      <dgm:spPr/>
    </dgm:pt>
    <dgm:pt modelId="{72DF805D-8D69-4FEE-A9B9-C009AF17FAFE}" type="pres">
      <dgm:prSet presAssocID="{52C64453-D836-40EA-804E-9CD600D5DB98}" presName="transSpace" presStyleCnt="0"/>
      <dgm:spPr/>
    </dgm:pt>
    <dgm:pt modelId="{AF15A64F-F562-4639-9ADA-99EE58D5A701}" type="pres">
      <dgm:prSet presAssocID="{75EF618C-BDB1-4E9F-990B-A89F26180E70}" presName="posSpace" presStyleCnt="0"/>
      <dgm:spPr/>
    </dgm:pt>
    <dgm:pt modelId="{E00E17A5-1103-438A-87DA-7F0A35F3F580}" type="pres">
      <dgm:prSet presAssocID="{75EF618C-BDB1-4E9F-990B-A89F26180E70}" presName="vertFlow" presStyleCnt="0"/>
      <dgm:spPr/>
    </dgm:pt>
    <dgm:pt modelId="{72529487-0013-4D92-84AD-0F8A36B7CA15}" type="pres">
      <dgm:prSet presAssocID="{75EF618C-BDB1-4E9F-990B-A89F26180E70}" presName="topSpace" presStyleCnt="0"/>
      <dgm:spPr/>
    </dgm:pt>
    <dgm:pt modelId="{83A2E34B-F343-4852-8035-04799DF194A9}" type="pres">
      <dgm:prSet presAssocID="{75EF618C-BDB1-4E9F-990B-A89F26180E70}" presName="firstComp" presStyleCnt="0"/>
      <dgm:spPr/>
    </dgm:pt>
    <dgm:pt modelId="{1A05FC16-C614-4C98-8888-4C13A883B7A8}" type="pres">
      <dgm:prSet presAssocID="{75EF618C-BDB1-4E9F-990B-A89F26180E70}" presName="firstChild" presStyleLbl="bgAccFollowNode1" presStyleIdx="3" presStyleCnt="6"/>
      <dgm:spPr/>
    </dgm:pt>
    <dgm:pt modelId="{C3608531-6245-4DDE-BFA2-C072977A3ED6}" type="pres">
      <dgm:prSet presAssocID="{75EF618C-BDB1-4E9F-990B-A89F26180E70}" presName="firstChildTx" presStyleLbl="bgAccFollowNode1" presStyleIdx="3" presStyleCnt="6">
        <dgm:presLayoutVars>
          <dgm:bulletEnabled val="1"/>
        </dgm:presLayoutVars>
      </dgm:prSet>
      <dgm:spPr/>
    </dgm:pt>
    <dgm:pt modelId="{A38576A2-6846-4903-BE08-DE3B900E7ACA}" type="pres">
      <dgm:prSet presAssocID="{3CB867DE-A6A6-4E62-BEA0-EE9C1128C065}" presName="comp" presStyleCnt="0"/>
      <dgm:spPr/>
    </dgm:pt>
    <dgm:pt modelId="{061FA7CE-D25C-4FFB-9C08-8F149D438A4E}" type="pres">
      <dgm:prSet presAssocID="{3CB867DE-A6A6-4E62-BEA0-EE9C1128C065}" presName="child" presStyleLbl="bgAccFollowNode1" presStyleIdx="4" presStyleCnt="6"/>
      <dgm:spPr/>
    </dgm:pt>
    <dgm:pt modelId="{ACEAD56C-07DC-4C76-9ABF-8A703AAEF310}" type="pres">
      <dgm:prSet presAssocID="{3CB867DE-A6A6-4E62-BEA0-EE9C1128C065}" presName="childTx" presStyleLbl="bgAccFollowNode1" presStyleIdx="4" presStyleCnt="6">
        <dgm:presLayoutVars>
          <dgm:bulletEnabled val="1"/>
        </dgm:presLayoutVars>
      </dgm:prSet>
      <dgm:spPr/>
    </dgm:pt>
    <dgm:pt modelId="{F3684A09-4A75-4B4B-978E-9D4339B2F576}" type="pres">
      <dgm:prSet presAssocID="{825551D9-81BD-4418-9747-E185E71DB630}" presName="comp" presStyleCnt="0"/>
      <dgm:spPr/>
    </dgm:pt>
    <dgm:pt modelId="{7B0C2434-EE96-42FE-A4BE-A4511F2BC7AC}" type="pres">
      <dgm:prSet presAssocID="{825551D9-81BD-4418-9747-E185E71DB630}" presName="child" presStyleLbl="bgAccFollowNode1" presStyleIdx="5" presStyleCnt="6"/>
      <dgm:spPr/>
    </dgm:pt>
    <dgm:pt modelId="{A72C9388-1157-4E11-84C6-F8E058C61113}" type="pres">
      <dgm:prSet presAssocID="{825551D9-81BD-4418-9747-E185E71DB630}" presName="childTx" presStyleLbl="bgAccFollowNode1" presStyleIdx="5" presStyleCnt="6">
        <dgm:presLayoutVars>
          <dgm:bulletEnabled val="1"/>
        </dgm:presLayoutVars>
      </dgm:prSet>
      <dgm:spPr/>
    </dgm:pt>
    <dgm:pt modelId="{7E19EA46-882A-47C3-9DBE-4ED3FC5F9D27}" type="pres">
      <dgm:prSet presAssocID="{75EF618C-BDB1-4E9F-990B-A89F26180E70}" presName="negSpace" presStyleCnt="0"/>
      <dgm:spPr/>
    </dgm:pt>
    <dgm:pt modelId="{AF76CFD8-02C8-4441-8215-EE5E775F4874}" type="pres">
      <dgm:prSet presAssocID="{75EF618C-BDB1-4E9F-990B-A89F26180E70}" presName="circle" presStyleLbl="node1" presStyleIdx="1" presStyleCnt="2"/>
      <dgm:spPr/>
    </dgm:pt>
  </dgm:ptLst>
  <dgm:cxnLst>
    <dgm:cxn modelId="{41539E08-EE7B-4767-9A2B-47BCC0F1DCEB}" type="presOf" srcId="{E9B051F2-D8AE-4C48-A067-686EB24C04AB}" destId="{1A05FC16-C614-4C98-8888-4C13A883B7A8}" srcOrd="0" destOrd="0" presId="urn:microsoft.com/office/officeart/2005/8/layout/hList9"/>
    <dgm:cxn modelId="{004ADA0D-0CC2-4415-BEE8-9E6995270A0F}" srcId="{75EF618C-BDB1-4E9F-990B-A89F26180E70}" destId="{825551D9-81BD-4418-9747-E185E71DB630}" srcOrd="2" destOrd="0" parTransId="{DB6905B0-3CBC-4687-862D-74DBB0482919}" sibTransId="{DEC0E6B0-95B6-42E1-A0AB-C07A986163FB}"/>
    <dgm:cxn modelId="{C9217015-DAEA-4A35-89C4-42D092103542}" type="presOf" srcId="{8A0F5997-B1DC-41AB-8DC2-0D5B043C49DC}" destId="{D827C44E-FCD4-4C0A-8AD8-90CD7E85E308}" srcOrd="0" destOrd="0" presId="urn:microsoft.com/office/officeart/2005/8/layout/hList9"/>
    <dgm:cxn modelId="{E56FE81C-AAC6-4484-9CA7-F22BD5FAC0A1}" type="presOf" srcId="{DBEECD9E-7D48-4A73-9541-BB91E82703A6}" destId="{676942FA-DB2A-4DE6-B1A7-2C4F33875B04}" srcOrd="0" destOrd="0" presId="urn:microsoft.com/office/officeart/2005/8/layout/hList9"/>
    <dgm:cxn modelId="{A3B6A260-86DE-48B9-851A-8FBA8878627C}" type="presOf" srcId="{ABB36983-0F4F-4148-9DAB-5AE4B59D00BA}" destId="{BB06E5AE-F59D-4E03-A17E-35530D11C49F}" srcOrd="0" destOrd="0" presId="urn:microsoft.com/office/officeart/2005/8/layout/hList9"/>
    <dgm:cxn modelId="{DEB98A42-F7C0-44D7-A718-4D5E9EFC5C86}" srcId="{75EF618C-BDB1-4E9F-990B-A89F26180E70}" destId="{3CB867DE-A6A6-4E62-BEA0-EE9C1128C065}" srcOrd="1" destOrd="0" parTransId="{6DA3EAF2-F30B-4D8E-866C-01CB9FDC7461}" sibTransId="{D2BB3FD3-6F4F-4906-BDC7-2A6CF08EE344}"/>
    <dgm:cxn modelId="{3D0C6D66-A70B-421E-B083-6261FADD07BB}" type="presOf" srcId="{15B4A616-5991-448F-951B-025D89439FCE}" destId="{93F4E351-7064-49B0-BAE7-C8B05C462B8B}" srcOrd="1" destOrd="0" presId="urn:microsoft.com/office/officeart/2005/8/layout/hList9"/>
    <dgm:cxn modelId="{7D6AAC56-4E6D-40B3-B594-50F69DA97939}" type="presOf" srcId="{825551D9-81BD-4418-9747-E185E71DB630}" destId="{A72C9388-1157-4E11-84C6-F8E058C61113}" srcOrd="1" destOrd="0" presId="urn:microsoft.com/office/officeart/2005/8/layout/hList9"/>
    <dgm:cxn modelId="{50A4C47F-F486-4175-9470-258DA1CAFECA}" type="presOf" srcId="{15B4A616-5991-448F-951B-025D89439FCE}" destId="{5F6F0EEC-FE4B-4A9D-9369-A703EFCFD1AC}" srcOrd="0" destOrd="0" presId="urn:microsoft.com/office/officeart/2005/8/layout/hList9"/>
    <dgm:cxn modelId="{68A45188-DC23-405A-B934-32B1B47627D1}" type="presOf" srcId="{DBEECD9E-7D48-4A73-9541-BB91E82703A6}" destId="{50836AAD-A6C5-4B70-BBD1-290237EAC5BC}" srcOrd="1" destOrd="0" presId="urn:microsoft.com/office/officeart/2005/8/layout/hList9"/>
    <dgm:cxn modelId="{58FC7C8C-960D-49A8-B208-B7EF779187E8}" srcId="{75EF618C-BDB1-4E9F-990B-A89F26180E70}" destId="{E9B051F2-D8AE-4C48-A067-686EB24C04AB}" srcOrd="0" destOrd="0" parTransId="{F3861BD3-033C-44D7-9EC0-BC2C8295FE67}" sibTransId="{84996215-3488-462C-93A0-C1A816C80671}"/>
    <dgm:cxn modelId="{C9DF8C9A-31DE-4F26-AAAD-EE9B4F7E5C4E}" srcId="{8A0F5997-B1DC-41AB-8DC2-0D5B043C49DC}" destId="{19B3EFC4-8A78-4741-9B76-F07EB8DA755A}" srcOrd="0" destOrd="0" parTransId="{1E5786EF-00CB-4BAD-987D-F6A197BFB384}" sibTransId="{52C64453-D836-40EA-804E-9CD600D5DB98}"/>
    <dgm:cxn modelId="{F67E009B-AB28-4DB8-94C6-65D1803ED0CE}" srcId="{19B3EFC4-8A78-4741-9B76-F07EB8DA755A}" destId="{ABB36983-0F4F-4148-9DAB-5AE4B59D00BA}" srcOrd="1" destOrd="0" parTransId="{8731CEFF-CA29-4B6B-B748-C3F3B407BCF4}" sibTransId="{A2967654-248E-44D8-B612-DC295AF15119}"/>
    <dgm:cxn modelId="{F42D0A9E-A477-46C5-BB9F-05FCEB879795}" type="presOf" srcId="{19B3EFC4-8A78-4741-9B76-F07EB8DA755A}" destId="{6A0AB1BF-176D-4912-A558-069CD2444DE2}" srcOrd="0" destOrd="0" presId="urn:microsoft.com/office/officeart/2005/8/layout/hList9"/>
    <dgm:cxn modelId="{DDA7BFA1-CB7D-437B-9983-61201EE9ED02}" type="presOf" srcId="{ABB36983-0F4F-4148-9DAB-5AE4B59D00BA}" destId="{0F192443-75FB-445C-9163-2E2E0981CCB7}" srcOrd="1" destOrd="0" presId="urn:microsoft.com/office/officeart/2005/8/layout/hList9"/>
    <dgm:cxn modelId="{75A95EA2-37BA-4578-AD78-732C0911DE4E}" type="presOf" srcId="{75EF618C-BDB1-4E9F-990B-A89F26180E70}" destId="{AF76CFD8-02C8-4441-8215-EE5E775F4874}" srcOrd="0" destOrd="0" presId="urn:microsoft.com/office/officeart/2005/8/layout/hList9"/>
    <dgm:cxn modelId="{A6CB64AF-BB51-46E6-83EC-BEF436BF0CBB}" srcId="{19B3EFC4-8A78-4741-9B76-F07EB8DA755A}" destId="{15B4A616-5991-448F-951B-025D89439FCE}" srcOrd="2" destOrd="0" parTransId="{7FC58891-2644-4934-86E9-4BBD22D2BF48}" sibTransId="{189142A6-0877-435D-A1EB-BFC565989DB3}"/>
    <dgm:cxn modelId="{F08082B2-A40F-4805-AD27-F43749D61597}" type="presOf" srcId="{3CB867DE-A6A6-4E62-BEA0-EE9C1128C065}" destId="{ACEAD56C-07DC-4C76-9ABF-8A703AAEF310}" srcOrd="1" destOrd="0" presId="urn:microsoft.com/office/officeart/2005/8/layout/hList9"/>
    <dgm:cxn modelId="{69A362BA-2CB5-4F75-A995-3D8B14C7EE2B}" srcId="{8A0F5997-B1DC-41AB-8DC2-0D5B043C49DC}" destId="{75EF618C-BDB1-4E9F-990B-A89F26180E70}" srcOrd="1" destOrd="0" parTransId="{CEAB8718-954F-4280-8360-025A1132AA4B}" sibTransId="{294DA2E7-12C7-4CC5-9129-6BA18309DFBA}"/>
    <dgm:cxn modelId="{E93525DB-E8A7-46AD-9B5F-9BC10C57E865}" type="presOf" srcId="{E9B051F2-D8AE-4C48-A067-686EB24C04AB}" destId="{C3608531-6245-4DDE-BFA2-C072977A3ED6}" srcOrd="1" destOrd="0" presId="urn:microsoft.com/office/officeart/2005/8/layout/hList9"/>
    <dgm:cxn modelId="{DC0CAFE3-AD12-49A5-8AD3-69F652F42613}" type="presOf" srcId="{3CB867DE-A6A6-4E62-BEA0-EE9C1128C065}" destId="{061FA7CE-D25C-4FFB-9C08-8F149D438A4E}" srcOrd="0" destOrd="0" presId="urn:microsoft.com/office/officeart/2005/8/layout/hList9"/>
    <dgm:cxn modelId="{D868E7F3-9A6F-4AB2-A9A4-0A05C5C80267}" srcId="{19B3EFC4-8A78-4741-9B76-F07EB8DA755A}" destId="{DBEECD9E-7D48-4A73-9541-BB91E82703A6}" srcOrd="0" destOrd="0" parTransId="{50E5293B-7546-4236-9EC9-513C5501CE7F}" sibTransId="{A1D8706F-2805-490F-BD3F-92F31157AF77}"/>
    <dgm:cxn modelId="{A85D61FA-73A5-4929-AD41-035F6ABF3847}" type="presOf" srcId="{825551D9-81BD-4418-9747-E185E71DB630}" destId="{7B0C2434-EE96-42FE-A4BE-A4511F2BC7AC}" srcOrd="0" destOrd="0" presId="urn:microsoft.com/office/officeart/2005/8/layout/hList9"/>
    <dgm:cxn modelId="{27A8E793-D81F-4E50-9EBD-BFD36440519A}" type="presParOf" srcId="{D827C44E-FCD4-4C0A-8AD8-90CD7E85E308}" destId="{59EE10B7-170A-40BE-A091-E90E7F3D9971}" srcOrd="0" destOrd="0" presId="urn:microsoft.com/office/officeart/2005/8/layout/hList9"/>
    <dgm:cxn modelId="{B477C513-7E8F-4F77-B06E-56A077A7048A}" type="presParOf" srcId="{D827C44E-FCD4-4C0A-8AD8-90CD7E85E308}" destId="{CD03578D-B52C-4016-B7E7-B27CCA9A6C38}" srcOrd="1" destOrd="0" presId="urn:microsoft.com/office/officeart/2005/8/layout/hList9"/>
    <dgm:cxn modelId="{A5C26D45-FA76-468A-9E69-5211EC91EE00}" type="presParOf" srcId="{CD03578D-B52C-4016-B7E7-B27CCA9A6C38}" destId="{A48453A1-3BA8-4459-B16C-AE4FFF511469}" srcOrd="0" destOrd="0" presId="urn:microsoft.com/office/officeart/2005/8/layout/hList9"/>
    <dgm:cxn modelId="{220A4BD6-9AB8-4894-8D88-1FA60507BFC9}" type="presParOf" srcId="{CD03578D-B52C-4016-B7E7-B27CCA9A6C38}" destId="{147DBEE5-FD45-4681-A5D4-94C5E701AC45}" srcOrd="1" destOrd="0" presId="urn:microsoft.com/office/officeart/2005/8/layout/hList9"/>
    <dgm:cxn modelId="{80537F92-CA2C-4D82-A0C5-8611744DE745}" type="presParOf" srcId="{147DBEE5-FD45-4681-A5D4-94C5E701AC45}" destId="{676942FA-DB2A-4DE6-B1A7-2C4F33875B04}" srcOrd="0" destOrd="0" presId="urn:microsoft.com/office/officeart/2005/8/layout/hList9"/>
    <dgm:cxn modelId="{4C74A507-4B16-44DF-BF9C-E7572D367295}" type="presParOf" srcId="{147DBEE5-FD45-4681-A5D4-94C5E701AC45}" destId="{50836AAD-A6C5-4B70-BBD1-290237EAC5BC}" srcOrd="1" destOrd="0" presId="urn:microsoft.com/office/officeart/2005/8/layout/hList9"/>
    <dgm:cxn modelId="{07338E34-8F64-4F28-97EF-055F66214CE3}" type="presParOf" srcId="{CD03578D-B52C-4016-B7E7-B27CCA9A6C38}" destId="{D3E6468D-7CCF-4BCE-AC94-DF8A2BD6B034}" srcOrd="2" destOrd="0" presId="urn:microsoft.com/office/officeart/2005/8/layout/hList9"/>
    <dgm:cxn modelId="{4AB72038-B6C5-4103-A910-F41ABBEA042F}" type="presParOf" srcId="{D3E6468D-7CCF-4BCE-AC94-DF8A2BD6B034}" destId="{BB06E5AE-F59D-4E03-A17E-35530D11C49F}" srcOrd="0" destOrd="0" presId="urn:microsoft.com/office/officeart/2005/8/layout/hList9"/>
    <dgm:cxn modelId="{B1446E1F-E5C5-48BB-81C8-B4385097CE4C}" type="presParOf" srcId="{D3E6468D-7CCF-4BCE-AC94-DF8A2BD6B034}" destId="{0F192443-75FB-445C-9163-2E2E0981CCB7}" srcOrd="1" destOrd="0" presId="urn:microsoft.com/office/officeart/2005/8/layout/hList9"/>
    <dgm:cxn modelId="{B1BD74A9-1F26-4A8B-B552-0C61BAC054D8}" type="presParOf" srcId="{CD03578D-B52C-4016-B7E7-B27CCA9A6C38}" destId="{23607819-17C9-4B58-9F03-10E60C42F555}" srcOrd="3" destOrd="0" presId="urn:microsoft.com/office/officeart/2005/8/layout/hList9"/>
    <dgm:cxn modelId="{F3C9AF87-9335-4A6B-91E4-B54552A76BD0}" type="presParOf" srcId="{23607819-17C9-4B58-9F03-10E60C42F555}" destId="{5F6F0EEC-FE4B-4A9D-9369-A703EFCFD1AC}" srcOrd="0" destOrd="0" presId="urn:microsoft.com/office/officeart/2005/8/layout/hList9"/>
    <dgm:cxn modelId="{9393B3C1-97EF-40A2-B547-F03AB8064982}" type="presParOf" srcId="{23607819-17C9-4B58-9F03-10E60C42F555}" destId="{93F4E351-7064-49B0-BAE7-C8B05C462B8B}" srcOrd="1" destOrd="0" presId="urn:microsoft.com/office/officeart/2005/8/layout/hList9"/>
    <dgm:cxn modelId="{50FB0F3F-CF76-4C74-BB37-A9DF9B0F98BA}" type="presParOf" srcId="{D827C44E-FCD4-4C0A-8AD8-90CD7E85E308}" destId="{42441BD1-3404-4F89-9AA0-95F01DD1601E}" srcOrd="2" destOrd="0" presId="urn:microsoft.com/office/officeart/2005/8/layout/hList9"/>
    <dgm:cxn modelId="{AA469E7B-FF61-446F-94A2-EB8168244B06}" type="presParOf" srcId="{D827C44E-FCD4-4C0A-8AD8-90CD7E85E308}" destId="{6A0AB1BF-176D-4912-A558-069CD2444DE2}" srcOrd="3" destOrd="0" presId="urn:microsoft.com/office/officeart/2005/8/layout/hList9"/>
    <dgm:cxn modelId="{80694592-DCAD-433F-AF9F-02DF76D183F9}" type="presParOf" srcId="{D827C44E-FCD4-4C0A-8AD8-90CD7E85E308}" destId="{72DF805D-8D69-4FEE-A9B9-C009AF17FAFE}" srcOrd="4" destOrd="0" presId="urn:microsoft.com/office/officeart/2005/8/layout/hList9"/>
    <dgm:cxn modelId="{E2554CDB-F752-4A8D-8B2B-7F77E5E01E93}" type="presParOf" srcId="{D827C44E-FCD4-4C0A-8AD8-90CD7E85E308}" destId="{AF15A64F-F562-4639-9ADA-99EE58D5A701}" srcOrd="5" destOrd="0" presId="urn:microsoft.com/office/officeart/2005/8/layout/hList9"/>
    <dgm:cxn modelId="{81524059-782D-4D8B-93E0-CC22B50A2188}" type="presParOf" srcId="{D827C44E-FCD4-4C0A-8AD8-90CD7E85E308}" destId="{E00E17A5-1103-438A-87DA-7F0A35F3F580}" srcOrd="6" destOrd="0" presId="urn:microsoft.com/office/officeart/2005/8/layout/hList9"/>
    <dgm:cxn modelId="{8A2F8931-EAB8-4261-B46E-006B0824EE88}" type="presParOf" srcId="{E00E17A5-1103-438A-87DA-7F0A35F3F580}" destId="{72529487-0013-4D92-84AD-0F8A36B7CA15}" srcOrd="0" destOrd="0" presId="urn:microsoft.com/office/officeart/2005/8/layout/hList9"/>
    <dgm:cxn modelId="{1F8AE6D4-E223-450C-86FF-FD9C3133C0A3}" type="presParOf" srcId="{E00E17A5-1103-438A-87DA-7F0A35F3F580}" destId="{83A2E34B-F343-4852-8035-04799DF194A9}" srcOrd="1" destOrd="0" presId="urn:microsoft.com/office/officeart/2005/8/layout/hList9"/>
    <dgm:cxn modelId="{8B795C41-40B5-40A0-A5A6-887344502CA1}" type="presParOf" srcId="{83A2E34B-F343-4852-8035-04799DF194A9}" destId="{1A05FC16-C614-4C98-8888-4C13A883B7A8}" srcOrd="0" destOrd="0" presId="urn:microsoft.com/office/officeart/2005/8/layout/hList9"/>
    <dgm:cxn modelId="{9803F331-3247-4B0D-BCE7-2F02825FCB58}" type="presParOf" srcId="{83A2E34B-F343-4852-8035-04799DF194A9}" destId="{C3608531-6245-4DDE-BFA2-C072977A3ED6}" srcOrd="1" destOrd="0" presId="urn:microsoft.com/office/officeart/2005/8/layout/hList9"/>
    <dgm:cxn modelId="{B29C3E77-A113-48AA-B78C-E876DF21A6E2}" type="presParOf" srcId="{E00E17A5-1103-438A-87DA-7F0A35F3F580}" destId="{A38576A2-6846-4903-BE08-DE3B900E7ACA}" srcOrd="2" destOrd="0" presId="urn:microsoft.com/office/officeart/2005/8/layout/hList9"/>
    <dgm:cxn modelId="{B60BB03A-14AE-4FB3-BABF-2D788A9D92C6}" type="presParOf" srcId="{A38576A2-6846-4903-BE08-DE3B900E7ACA}" destId="{061FA7CE-D25C-4FFB-9C08-8F149D438A4E}" srcOrd="0" destOrd="0" presId="urn:microsoft.com/office/officeart/2005/8/layout/hList9"/>
    <dgm:cxn modelId="{C56674DC-FFE2-45EA-8B5B-F8755F1942FD}" type="presParOf" srcId="{A38576A2-6846-4903-BE08-DE3B900E7ACA}" destId="{ACEAD56C-07DC-4C76-9ABF-8A703AAEF310}" srcOrd="1" destOrd="0" presId="urn:microsoft.com/office/officeart/2005/8/layout/hList9"/>
    <dgm:cxn modelId="{25EC4B8B-206E-4942-AC00-46CE7F4A4601}" type="presParOf" srcId="{E00E17A5-1103-438A-87DA-7F0A35F3F580}" destId="{F3684A09-4A75-4B4B-978E-9D4339B2F576}" srcOrd="3" destOrd="0" presId="urn:microsoft.com/office/officeart/2005/8/layout/hList9"/>
    <dgm:cxn modelId="{17CED3B3-282F-4E2B-AB00-4FEF1A59841F}" type="presParOf" srcId="{F3684A09-4A75-4B4B-978E-9D4339B2F576}" destId="{7B0C2434-EE96-42FE-A4BE-A4511F2BC7AC}" srcOrd="0" destOrd="0" presId="urn:microsoft.com/office/officeart/2005/8/layout/hList9"/>
    <dgm:cxn modelId="{02AF14DD-EB3E-47FA-A675-2FE0E22C1F83}" type="presParOf" srcId="{F3684A09-4A75-4B4B-978E-9D4339B2F576}" destId="{A72C9388-1157-4E11-84C6-F8E058C61113}" srcOrd="1" destOrd="0" presId="urn:microsoft.com/office/officeart/2005/8/layout/hList9"/>
    <dgm:cxn modelId="{2E2B464C-76BC-4AD9-A61E-7CF7EC564C77}" type="presParOf" srcId="{D827C44E-FCD4-4C0A-8AD8-90CD7E85E308}" destId="{7E19EA46-882A-47C3-9DBE-4ED3FC5F9D27}" srcOrd="7" destOrd="0" presId="urn:microsoft.com/office/officeart/2005/8/layout/hList9"/>
    <dgm:cxn modelId="{78325E1A-42B4-44EE-AD30-9683F5747F01}" type="presParOf" srcId="{D827C44E-FCD4-4C0A-8AD8-90CD7E85E308}" destId="{AF76CFD8-02C8-4441-8215-EE5E775F4874}" srcOrd="8" destOrd="0" presId="urn:microsoft.com/office/officeart/2005/8/layout/hList9"/>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A0F5997-B1DC-41AB-8DC2-0D5B043C49DC}" type="doc">
      <dgm:prSet loTypeId="urn:microsoft.com/office/officeart/2005/8/layout/hList9" loCatId="list" qsTypeId="urn:microsoft.com/office/officeart/2005/8/quickstyle/simple1" qsCatId="simple" csTypeId="urn:microsoft.com/office/officeart/2005/8/colors/accent1_2" csCatId="accent1" phldr="1"/>
      <dgm:spPr/>
      <dgm:t>
        <a:bodyPr/>
        <a:lstStyle/>
        <a:p>
          <a:endParaRPr lang="en-US"/>
        </a:p>
      </dgm:t>
    </dgm:pt>
    <dgm:pt modelId="{19B3EFC4-8A78-4741-9B76-F07EB8DA755A}">
      <dgm:prSet phldrT="[Text]" custT="1"/>
      <dgm:spPr/>
      <dgm:t>
        <a:bodyPr/>
        <a:lstStyle/>
        <a:p>
          <a:r>
            <a:rPr lang="en-US" sz="900" dirty="0">
              <a:latin typeface="Calibri" panose="020F0502020204030204" pitchFamily="34" charset="0"/>
            </a:rPr>
            <a:t>Knowledge</a:t>
          </a:r>
        </a:p>
      </dgm:t>
    </dgm:pt>
    <dgm:pt modelId="{1E5786EF-00CB-4BAD-987D-F6A197BFB384}" cxnId="{C9DF8C9A-31DE-4F26-AAAD-EE9B4F7E5C4E}" type="parTrans">
      <dgm:prSet/>
      <dgm:spPr/>
      <dgm:t>
        <a:bodyPr/>
        <a:lstStyle/>
        <a:p>
          <a:endParaRPr lang="en-US">
            <a:latin typeface="Calibri" panose="020F0502020204030204" pitchFamily="34" charset="0"/>
          </a:endParaRPr>
        </a:p>
      </dgm:t>
    </dgm:pt>
    <dgm:pt modelId="{52C64453-D836-40EA-804E-9CD600D5DB98}" cxnId="{C9DF8C9A-31DE-4F26-AAAD-EE9B4F7E5C4E}" type="sibTrans">
      <dgm:prSet/>
      <dgm:spPr/>
      <dgm:t>
        <a:bodyPr/>
        <a:lstStyle/>
        <a:p>
          <a:endParaRPr lang="en-US">
            <a:latin typeface="Calibri" panose="020F0502020204030204" pitchFamily="34" charset="0"/>
          </a:endParaRPr>
        </a:p>
      </dgm:t>
    </dgm:pt>
    <dgm:pt modelId="{ABB36983-0F4F-4148-9DAB-5AE4B59D00BA}">
      <dgm:prSet phldrT="[Text]"/>
      <dgm:spPr>
        <a:solidFill>
          <a:schemeClr val="bg1">
            <a:alpha val="90000"/>
          </a:schemeClr>
        </a:solidFill>
      </dgm:spPr>
      <dgm:t>
        <a:bodyPr/>
        <a:lstStyle/>
        <a:p>
          <a:pPr algn="ctr"/>
          <a:r>
            <a:rPr lang="en-US" dirty="0">
              <a:latin typeface="Calibri" panose="020F0502020204030204" pitchFamily="34" charset="0"/>
            </a:rPr>
            <a:t>Understanding portfolio style</a:t>
          </a:r>
        </a:p>
      </dgm:t>
    </dgm:pt>
    <dgm:pt modelId="{8731CEFF-CA29-4B6B-B748-C3F3B407BCF4}" cxnId="{F67E009B-AB28-4DB8-94C6-65D1803ED0CE}" type="parTrans">
      <dgm:prSet/>
      <dgm:spPr/>
      <dgm:t>
        <a:bodyPr/>
        <a:lstStyle/>
        <a:p>
          <a:endParaRPr lang="en-US">
            <a:latin typeface="Calibri" panose="020F0502020204030204" pitchFamily="34" charset="0"/>
          </a:endParaRPr>
        </a:p>
      </dgm:t>
    </dgm:pt>
    <dgm:pt modelId="{A2967654-248E-44D8-B612-DC295AF15119}" cxnId="{F67E009B-AB28-4DB8-94C6-65D1803ED0CE}" type="sibTrans">
      <dgm:prSet/>
      <dgm:spPr/>
      <dgm:t>
        <a:bodyPr/>
        <a:lstStyle/>
        <a:p>
          <a:endParaRPr lang="en-US">
            <a:latin typeface="Calibri" panose="020F0502020204030204" pitchFamily="34" charset="0"/>
          </a:endParaRPr>
        </a:p>
      </dgm:t>
    </dgm:pt>
    <dgm:pt modelId="{57871C86-6DDE-4954-A775-769AC619A6F5}">
      <dgm:prSet phldrT="[Text]"/>
      <dgm:spPr>
        <a:solidFill>
          <a:schemeClr val="bg1">
            <a:alpha val="90000"/>
          </a:schemeClr>
        </a:solidFill>
      </dgm:spPr>
      <dgm:t>
        <a:bodyPr/>
        <a:lstStyle/>
        <a:p>
          <a:pPr algn="ctr"/>
          <a:r>
            <a:rPr lang="en-US" dirty="0">
              <a:latin typeface="Calibri" panose="020F0502020204030204" pitchFamily="34" charset="0"/>
            </a:rPr>
            <a:t>Growth/GARP/</a:t>
          </a:r>
        </a:p>
        <a:p>
          <a:pPr algn="ctr"/>
          <a:r>
            <a:rPr lang="en-US" dirty="0">
              <a:latin typeface="Calibri" panose="020F0502020204030204" pitchFamily="34" charset="0"/>
            </a:rPr>
            <a:t>Value</a:t>
          </a:r>
        </a:p>
      </dgm:t>
    </dgm:pt>
    <dgm:pt modelId="{CC98B98E-AE4A-46E2-B9FB-A639979E764C}" cxnId="{FAC39EC2-D095-4C38-BB61-130836B36419}" type="parTrans">
      <dgm:prSet/>
      <dgm:spPr/>
      <dgm:t>
        <a:bodyPr/>
        <a:lstStyle/>
        <a:p>
          <a:endParaRPr lang="en-US">
            <a:latin typeface="Calibri" panose="020F0502020204030204" pitchFamily="34" charset="0"/>
          </a:endParaRPr>
        </a:p>
      </dgm:t>
    </dgm:pt>
    <dgm:pt modelId="{49D354A5-2148-45AD-8253-3C4107A6FEAA}" cxnId="{FAC39EC2-D095-4C38-BB61-130836B36419}" type="sibTrans">
      <dgm:prSet/>
      <dgm:spPr/>
      <dgm:t>
        <a:bodyPr/>
        <a:lstStyle/>
        <a:p>
          <a:endParaRPr lang="en-US">
            <a:latin typeface="Calibri" panose="020F0502020204030204" pitchFamily="34" charset="0"/>
          </a:endParaRPr>
        </a:p>
      </dgm:t>
    </dgm:pt>
    <dgm:pt modelId="{75EF618C-BDB1-4E9F-990B-A89F26180E70}">
      <dgm:prSet phldrT="[Text]" custT="1"/>
      <dgm:spPr/>
      <dgm:t>
        <a:bodyPr/>
        <a:lstStyle/>
        <a:p>
          <a:r>
            <a:rPr lang="en-US" sz="1000" dirty="0">
              <a:latin typeface="Calibri" panose="020F0502020204030204" pitchFamily="34" charset="0"/>
            </a:rPr>
            <a:t>Insight</a:t>
          </a:r>
        </a:p>
      </dgm:t>
    </dgm:pt>
    <dgm:pt modelId="{CEAB8718-954F-4280-8360-025A1132AA4B}" cxnId="{69A362BA-2CB5-4F75-A995-3D8B14C7EE2B}" type="parTrans">
      <dgm:prSet/>
      <dgm:spPr/>
      <dgm:t>
        <a:bodyPr/>
        <a:lstStyle/>
        <a:p>
          <a:endParaRPr lang="en-US">
            <a:latin typeface="Calibri" panose="020F0502020204030204" pitchFamily="34" charset="0"/>
          </a:endParaRPr>
        </a:p>
      </dgm:t>
    </dgm:pt>
    <dgm:pt modelId="{294DA2E7-12C7-4CC5-9129-6BA18309DFBA}" cxnId="{69A362BA-2CB5-4F75-A995-3D8B14C7EE2B}" type="sibTrans">
      <dgm:prSet/>
      <dgm:spPr/>
      <dgm:t>
        <a:bodyPr/>
        <a:lstStyle/>
        <a:p>
          <a:endParaRPr lang="en-US">
            <a:latin typeface="Calibri" panose="020F0502020204030204" pitchFamily="34" charset="0"/>
          </a:endParaRPr>
        </a:p>
      </dgm:t>
    </dgm:pt>
    <dgm:pt modelId="{E9B051F2-D8AE-4C48-A067-686EB24C04AB}">
      <dgm:prSet phldrT="[Text]"/>
      <dgm:spPr>
        <a:solidFill>
          <a:schemeClr val="bg1">
            <a:alpha val="90000"/>
          </a:schemeClr>
        </a:solidFill>
      </dgm:spPr>
      <dgm:t>
        <a:bodyPr/>
        <a:lstStyle/>
        <a:p>
          <a:pPr algn="ctr"/>
          <a:r>
            <a:rPr lang="en-US" dirty="0">
              <a:latin typeface="Calibri" panose="020F0502020204030204" pitchFamily="34" charset="0"/>
            </a:rPr>
            <a:t>Understanding Market Cycles</a:t>
          </a:r>
        </a:p>
      </dgm:t>
    </dgm:pt>
    <dgm:pt modelId="{F3861BD3-033C-44D7-9EC0-BC2C8295FE67}" cxnId="{58FC7C8C-960D-49A8-B208-B7EF779187E8}" type="parTrans">
      <dgm:prSet/>
      <dgm:spPr/>
      <dgm:t>
        <a:bodyPr/>
        <a:lstStyle/>
        <a:p>
          <a:endParaRPr lang="en-US">
            <a:latin typeface="Calibri" panose="020F0502020204030204" pitchFamily="34" charset="0"/>
          </a:endParaRPr>
        </a:p>
      </dgm:t>
    </dgm:pt>
    <dgm:pt modelId="{84996215-3488-462C-93A0-C1A816C80671}" cxnId="{58FC7C8C-960D-49A8-B208-B7EF779187E8}" type="sibTrans">
      <dgm:prSet/>
      <dgm:spPr/>
      <dgm:t>
        <a:bodyPr/>
        <a:lstStyle/>
        <a:p>
          <a:endParaRPr lang="en-US">
            <a:latin typeface="Calibri" panose="020F0502020204030204" pitchFamily="34" charset="0"/>
          </a:endParaRPr>
        </a:p>
      </dgm:t>
    </dgm:pt>
    <dgm:pt modelId="{825551D9-81BD-4418-9747-E185E71DB630}">
      <dgm:prSet phldrT="[Text]"/>
      <dgm:spPr>
        <a:solidFill>
          <a:schemeClr val="bg1">
            <a:alpha val="90000"/>
          </a:schemeClr>
        </a:solidFill>
      </dgm:spPr>
      <dgm:t>
        <a:bodyPr/>
        <a:lstStyle/>
        <a:p>
          <a:pPr algn="ctr"/>
          <a:r>
            <a:rPr lang="en-US" dirty="0">
              <a:latin typeface="Calibri" panose="020F0502020204030204" pitchFamily="34" charset="0"/>
            </a:rPr>
            <a:t>Mapping portfolio style with outlook</a:t>
          </a:r>
        </a:p>
      </dgm:t>
    </dgm:pt>
    <dgm:pt modelId="{DB6905B0-3CBC-4687-862D-74DBB0482919}" cxnId="{004ADA0D-0CC2-4415-BEE8-9E6995270A0F}" type="parTrans">
      <dgm:prSet/>
      <dgm:spPr/>
      <dgm:t>
        <a:bodyPr/>
        <a:lstStyle/>
        <a:p>
          <a:endParaRPr lang="en-US">
            <a:latin typeface="Calibri" panose="020F0502020204030204" pitchFamily="34" charset="0"/>
          </a:endParaRPr>
        </a:p>
      </dgm:t>
    </dgm:pt>
    <dgm:pt modelId="{DEC0E6B0-95B6-42E1-A0AB-C07A986163FB}" cxnId="{004ADA0D-0CC2-4415-BEE8-9E6995270A0F}" type="sibTrans">
      <dgm:prSet/>
      <dgm:spPr/>
      <dgm:t>
        <a:bodyPr/>
        <a:lstStyle/>
        <a:p>
          <a:endParaRPr lang="en-US">
            <a:latin typeface="Calibri" panose="020F0502020204030204" pitchFamily="34" charset="0"/>
          </a:endParaRPr>
        </a:p>
      </dgm:t>
    </dgm:pt>
    <dgm:pt modelId="{E20A7F6A-B29A-4D7A-9D2D-55051161F36A}">
      <dgm:prSet/>
      <dgm:spPr>
        <a:solidFill>
          <a:schemeClr val="bg1">
            <a:lumMod val="95000"/>
            <a:alpha val="90000"/>
          </a:schemeClr>
        </a:solidFill>
      </dgm:spPr>
      <dgm:t>
        <a:bodyPr/>
        <a:lstStyle/>
        <a:p>
          <a:pPr algn="ctr"/>
          <a:r>
            <a:rPr lang="en-US" b="1" dirty="0">
              <a:solidFill>
                <a:schemeClr val="tx1"/>
              </a:solidFill>
              <a:latin typeface="Calibri" panose="020F0502020204030204" pitchFamily="34" charset="0"/>
            </a:rPr>
            <a:t>Correct</a:t>
          </a:r>
          <a:r>
            <a:rPr lang="en-US" b="1" baseline="0" dirty="0">
              <a:solidFill>
                <a:schemeClr val="tx1"/>
              </a:solidFill>
              <a:latin typeface="Calibri" panose="020F0502020204030204" pitchFamily="34" charset="0"/>
            </a:rPr>
            <a:t> Classification</a:t>
          </a:r>
          <a:endParaRPr lang="en-US" b="1" dirty="0">
            <a:solidFill>
              <a:schemeClr val="tx1"/>
            </a:solidFill>
            <a:latin typeface="Calibri" panose="020F0502020204030204" pitchFamily="34" charset="0"/>
          </a:endParaRPr>
        </a:p>
      </dgm:t>
    </dgm:pt>
    <dgm:pt modelId="{9AA3F307-4FDB-4E79-83FC-0165F6A47B19}" cxnId="{B34CFE69-F347-4112-A0E4-607223F92496}" type="parTrans">
      <dgm:prSet/>
      <dgm:spPr/>
      <dgm:t>
        <a:bodyPr/>
        <a:lstStyle/>
        <a:p>
          <a:endParaRPr lang="en-US">
            <a:latin typeface="Calibri" panose="020F0502020204030204" pitchFamily="34" charset="0"/>
          </a:endParaRPr>
        </a:p>
      </dgm:t>
    </dgm:pt>
    <dgm:pt modelId="{F3513846-5551-4AF3-B9D3-36F2A9777A2E}" cxnId="{B34CFE69-F347-4112-A0E4-607223F92496}" type="sibTrans">
      <dgm:prSet/>
      <dgm:spPr/>
      <dgm:t>
        <a:bodyPr/>
        <a:lstStyle/>
        <a:p>
          <a:endParaRPr lang="en-US">
            <a:latin typeface="Calibri" panose="020F0502020204030204" pitchFamily="34" charset="0"/>
          </a:endParaRPr>
        </a:p>
      </dgm:t>
    </dgm:pt>
    <dgm:pt modelId="{CB295D2E-1724-483F-85EA-1299466E6A8B}">
      <dgm:prSet/>
      <dgm:spPr>
        <a:solidFill>
          <a:schemeClr val="bg1">
            <a:lumMod val="95000"/>
            <a:alpha val="90000"/>
          </a:schemeClr>
        </a:solidFill>
      </dgm:spPr>
      <dgm:t>
        <a:bodyPr/>
        <a:lstStyle/>
        <a:p>
          <a:pPr algn="ctr"/>
          <a:r>
            <a:rPr lang="en-US" b="1" dirty="0">
              <a:solidFill>
                <a:schemeClr val="tx1"/>
              </a:solidFill>
              <a:latin typeface="Calibri" panose="020F0502020204030204" pitchFamily="34" charset="0"/>
            </a:rPr>
            <a:t>Liquidity, Valuations, Economic, and Earnings cycle</a:t>
          </a:r>
        </a:p>
      </dgm:t>
    </dgm:pt>
    <dgm:pt modelId="{C2943D54-E47C-406B-B351-21BD2D07FC25}" cxnId="{2B6B20AE-BF71-4A95-90A9-AB946AB764B0}" type="parTrans">
      <dgm:prSet/>
      <dgm:spPr/>
      <dgm:t>
        <a:bodyPr/>
        <a:lstStyle/>
        <a:p>
          <a:endParaRPr lang="en-US">
            <a:latin typeface="Calibri" panose="020F0502020204030204" pitchFamily="34" charset="0"/>
          </a:endParaRPr>
        </a:p>
      </dgm:t>
    </dgm:pt>
    <dgm:pt modelId="{265EDD8B-6576-43A6-8D10-5477AA6BBA1D}" cxnId="{2B6B20AE-BF71-4A95-90A9-AB946AB764B0}" type="sibTrans">
      <dgm:prSet/>
      <dgm:spPr/>
      <dgm:t>
        <a:bodyPr/>
        <a:lstStyle/>
        <a:p>
          <a:endParaRPr lang="en-US">
            <a:latin typeface="Calibri" panose="020F0502020204030204" pitchFamily="34" charset="0"/>
          </a:endParaRPr>
        </a:p>
      </dgm:t>
    </dgm:pt>
    <dgm:pt modelId="{D827C44E-FCD4-4C0A-8AD8-90CD7E85E308}" type="pres">
      <dgm:prSet presAssocID="{8A0F5997-B1DC-41AB-8DC2-0D5B043C49DC}" presName="list" presStyleCnt="0">
        <dgm:presLayoutVars>
          <dgm:dir/>
          <dgm:animLvl val="lvl"/>
        </dgm:presLayoutVars>
      </dgm:prSet>
      <dgm:spPr/>
    </dgm:pt>
    <dgm:pt modelId="{59EE10B7-170A-40BE-A091-E90E7F3D9971}" type="pres">
      <dgm:prSet presAssocID="{19B3EFC4-8A78-4741-9B76-F07EB8DA755A}" presName="posSpace" presStyleCnt="0"/>
      <dgm:spPr/>
    </dgm:pt>
    <dgm:pt modelId="{CD03578D-B52C-4016-B7E7-B27CCA9A6C38}" type="pres">
      <dgm:prSet presAssocID="{19B3EFC4-8A78-4741-9B76-F07EB8DA755A}" presName="vertFlow" presStyleCnt="0"/>
      <dgm:spPr/>
    </dgm:pt>
    <dgm:pt modelId="{A48453A1-3BA8-4459-B16C-AE4FFF511469}" type="pres">
      <dgm:prSet presAssocID="{19B3EFC4-8A78-4741-9B76-F07EB8DA755A}" presName="topSpace" presStyleCnt="0"/>
      <dgm:spPr/>
    </dgm:pt>
    <dgm:pt modelId="{147DBEE5-FD45-4681-A5D4-94C5E701AC45}" type="pres">
      <dgm:prSet presAssocID="{19B3EFC4-8A78-4741-9B76-F07EB8DA755A}" presName="firstComp" presStyleCnt="0"/>
      <dgm:spPr/>
    </dgm:pt>
    <dgm:pt modelId="{676942FA-DB2A-4DE6-B1A7-2C4F33875B04}" type="pres">
      <dgm:prSet presAssocID="{19B3EFC4-8A78-4741-9B76-F07EB8DA755A}" presName="firstChild" presStyleLbl="bgAccFollowNode1" presStyleIdx="0" presStyleCnt="6"/>
      <dgm:spPr/>
    </dgm:pt>
    <dgm:pt modelId="{50836AAD-A6C5-4B70-BBD1-290237EAC5BC}" type="pres">
      <dgm:prSet presAssocID="{19B3EFC4-8A78-4741-9B76-F07EB8DA755A}" presName="firstChildTx" presStyleLbl="bgAccFollowNode1" presStyleIdx="0" presStyleCnt="6">
        <dgm:presLayoutVars>
          <dgm:bulletEnabled val="1"/>
        </dgm:presLayoutVars>
      </dgm:prSet>
      <dgm:spPr/>
    </dgm:pt>
    <dgm:pt modelId="{B5A55224-3B38-4FAB-8F27-8AF2BB81A010}" type="pres">
      <dgm:prSet presAssocID="{E20A7F6A-B29A-4D7A-9D2D-55051161F36A}" presName="comp" presStyleCnt="0"/>
      <dgm:spPr/>
    </dgm:pt>
    <dgm:pt modelId="{FC3D83FF-8FE1-411D-9168-38B0A3670960}" type="pres">
      <dgm:prSet presAssocID="{E20A7F6A-B29A-4D7A-9D2D-55051161F36A}" presName="child" presStyleLbl="bgAccFollowNode1" presStyleIdx="1" presStyleCnt="6"/>
      <dgm:spPr/>
    </dgm:pt>
    <dgm:pt modelId="{508EB3A2-2D86-4F45-B444-1F787737756F}" type="pres">
      <dgm:prSet presAssocID="{E20A7F6A-B29A-4D7A-9D2D-55051161F36A}" presName="childTx" presStyleLbl="bgAccFollowNode1" presStyleIdx="1" presStyleCnt="6">
        <dgm:presLayoutVars>
          <dgm:bulletEnabled val="1"/>
        </dgm:presLayoutVars>
      </dgm:prSet>
      <dgm:spPr/>
    </dgm:pt>
    <dgm:pt modelId="{D9492CF5-23D4-4A0A-A6CF-DD8FF1AAC9CB}" type="pres">
      <dgm:prSet presAssocID="{57871C86-6DDE-4954-A775-769AC619A6F5}" presName="comp" presStyleCnt="0"/>
      <dgm:spPr/>
    </dgm:pt>
    <dgm:pt modelId="{E553CB4C-163A-4FF9-8246-9DE67CF92F1B}" type="pres">
      <dgm:prSet presAssocID="{57871C86-6DDE-4954-A775-769AC619A6F5}" presName="child" presStyleLbl="bgAccFollowNode1" presStyleIdx="2" presStyleCnt="6"/>
      <dgm:spPr/>
    </dgm:pt>
    <dgm:pt modelId="{E4FB3ACF-3AE5-4BD9-9B9A-276B1046DAF6}" type="pres">
      <dgm:prSet presAssocID="{57871C86-6DDE-4954-A775-769AC619A6F5}" presName="childTx" presStyleLbl="bgAccFollowNode1" presStyleIdx="2" presStyleCnt="6">
        <dgm:presLayoutVars>
          <dgm:bulletEnabled val="1"/>
        </dgm:presLayoutVars>
      </dgm:prSet>
      <dgm:spPr/>
    </dgm:pt>
    <dgm:pt modelId="{42441BD1-3404-4F89-9AA0-95F01DD1601E}" type="pres">
      <dgm:prSet presAssocID="{19B3EFC4-8A78-4741-9B76-F07EB8DA755A}" presName="negSpace" presStyleCnt="0"/>
      <dgm:spPr/>
    </dgm:pt>
    <dgm:pt modelId="{6A0AB1BF-176D-4912-A558-069CD2444DE2}" type="pres">
      <dgm:prSet presAssocID="{19B3EFC4-8A78-4741-9B76-F07EB8DA755A}" presName="circle" presStyleLbl="node1" presStyleIdx="0" presStyleCnt="2"/>
      <dgm:spPr/>
    </dgm:pt>
    <dgm:pt modelId="{72DF805D-8D69-4FEE-A9B9-C009AF17FAFE}" type="pres">
      <dgm:prSet presAssocID="{52C64453-D836-40EA-804E-9CD600D5DB98}" presName="transSpace" presStyleCnt="0"/>
      <dgm:spPr/>
    </dgm:pt>
    <dgm:pt modelId="{AF15A64F-F562-4639-9ADA-99EE58D5A701}" type="pres">
      <dgm:prSet presAssocID="{75EF618C-BDB1-4E9F-990B-A89F26180E70}" presName="posSpace" presStyleCnt="0"/>
      <dgm:spPr/>
    </dgm:pt>
    <dgm:pt modelId="{E00E17A5-1103-438A-87DA-7F0A35F3F580}" type="pres">
      <dgm:prSet presAssocID="{75EF618C-BDB1-4E9F-990B-A89F26180E70}" presName="vertFlow" presStyleCnt="0"/>
      <dgm:spPr/>
    </dgm:pt>
    <dgm:pt modelId="{72529487-0013-4D92-84AD-0F8A36B7CA15}" type="pres">
      <dgm:prSet presAssocID="{75EF618C-BDB1-4E9F-990B-A89F26180E70}" presName="topSpace" presStyleCnt="0"/>
      <dgm:spPr/>
    </dgm:pt>
    <dgm:pt modelId="{83A2E34B-F343-4852-8035-04799DF194A9}" type="pres">
      <dgm:prSet presAssocID="{75EF618C-BDB1-4E9F-990B-A89F26180E70}" presName="firstComp" presStyleCnt="0"/>
      <dgm:spPr/>
    </dgm:pt>
    <dgm:pt modelId="{1A05FC16-C614-4C98-8888-4C13A883B7A8}" type="pres">
      <dgm:prSet presAssocID="{75EF618C-BDB1-4E9F-990B-A89F26180E70}" presName="firstChild" presStyleLbl="bgAccFollowNode1" presStyleIdx="3" presStyleCnt="6"/>
      <dgm:spPr/>
    </dgm:pt>
    <dgm:pt modelId="{C3608531-6245-4DDE-BFA2-C072977A3ED6}" type="pres">
      <dgm:prSet presAssocID="{75EF618C-BDB1-4E9F-990B-A89F26180E70}" presName="firstChildTx" presStyleLbl="bgAccFollowNode1" presStyleIdx="3" presStyleCnt="6">
        <dgm:presLayoutVars>
          <dgm:bulletEnabled val="1"/>
        </dgm:presLayoutVars>
      </dgm:prSet>
      <dgm:spPr/>
    </dgm:pt>
    <dgm:pt modelId="{519149FF-2160-43F4-9FE4-D45B9ED63352}" type="pres">
      <dgm:prSet presAssocID="{CB295D2E-1724-483F-85EA-1299466E6A8B}" presName="comp" presStyleCnt="0"/>
      <dgm:spPr/>
    </dgm:pt>
    <dgm:pt modelId="{E6611974-2A3C-4CFA-B90F-942E9C0FC135}" type="pres">
      <dgm:prSet presAssocID="{CB295D2E-1724-483F-85EA-1299466E6A8B}" presName="child" presStyleLbl="bgAccFollowNode1" presStyleIdx="4" presStyleCnt="6"/>
      <dgm:spPr/>
    </dgm:pt>
    <dgm:pt modelId="{62FA5732-28A0-4902-89F0-F786890C6334}" type="pres">
      <dgm:prSet presAssocID="{CB295D2E-1724-483F-85EA-1299466E6A8B}" presName="childTx" presStyleLbl="bgAccFollowNode1" presStyleIdx="4" presStyleCnt="6">
        <dgm:presLayoutVars>
          <dgm:bulletEnabled val="1"/>
        </dgm:presLayoutVars>
      </dgm:prSet>
      <dgm:spPr/>
    </dgm:pt>
    <dgm:pt modelId="{F3684A09-4A75-4B4B-978E-9D4339B2F576}" type="pres">
      <dgm:prSet presAssocID="{825551D9-81BD-4418-9747-E185E71DB630}" presName="comp" presStyleCnt="0"/>
      <dgm:spPr/>
    </dgm:pt>
    <dgm:pt modelId="{7B0C2434-EE96-42FE-A4BE-A4511F2BC7AC}" type="pres">
      <dgm:prSet presAssocID="{825551D9-81BD-4418-9747-E185E71DB630}" presName="child" presStyleLbl="bgAccFollowNode1" presStyleIdx="5" presStyleCnt="6"/>
      <dgm:spPr/>
    </dgm:pt>
    <dgm:pt modelId="{A72C9388-1157-4E11-84C6-F8E058C61113}" type="pres">
      <dgm:prSet presAssocID="{825551D9-81BD-4418-9747-E185E71DB630}" presName="childTx" presStyleLbl="bgAccFollowNode1" presStyleIdx="5" presStyleCnt="6">
        <dgm:presLayoutVars>
          <dgm:bulletEnabled val="1"/>
        </dgm:presLayoutVars>
      </dgm:prSet>
      <dgm:spPr/>
    </dgm:pt>
    <dgm:pt modelId="{7E19EA46-882A-47C3-9DBE-4ED3FC5F9D27}" type="pres">
      <dgm:prSet presAssocID="{75EF618C-BDB1-4E9F-990B-A89F26180E70}" presName="negSpace" presStyleCnt="0"/>
      <dgm:spPr/>
    </dgm:pt>
    <dgm:pt modelId="{AF76CFD8-02C8-4441-8215-EE5E775F4874}" type="pres">
      <dgm:prSet presAssocID="{75EF618C-BDB1-4E9F-990B-A89F26180E70}" presName="circle" presStyleLbl="node1" presStyleIdx="1" presStyleCnt="2"/>
      <dgm:spPr/>
    </dgm:pt>
  </dgm:ptLst>
  <dgm:cxnLst>
    <dgm:cxn modelId="{41539E08-EE7B-4767-9A2B-47BCC0F1DCEB}" type="presOf" srcId="{E9B051F2-D8AE-4C48-A067-686EB24C04AB}" destId="{1A05FC16-C614-4C98-8888-4C13A883B7A8}" srcOrd="0" destOrd="0" presId="urn:microsoft.com/office/officeart/2005/8/layout/hList9"/>
    <dgm:cxn modelId="{004ADA0D-0CC2-4415-BEE8-9E6995270A0F}" srcId="{75EF618C-BDB1-4E9F-990B-A89F26180E70}" destId="{825551D9-81BD-4418-9747-E185E71DB630}" srcOrd="2" destOrd="0" parTransId="{DB6905B0-3CBC-4687-862D-74DBB0482919}" sibTransId="{DEC0E6B0-95B6-42E1-A0AB-C07A986163FB}"/>
    <dgm:cxn modelId="{C9217015-DAEA-4A35-89C4-42D092103542}" type="presOf" srcId="{8A0F5997-B1DC-41AB-8DC2-0D5B043C49DC}" destId="{D827C44E-FCD4-4C0A-8AD8-90CD7E85E308}" srcOrd="0" destOrd="0" presId="urn:microsoft.com/office/officeart/2005/8/layout/hList9"/>
    <dgm:cxn modelId="{99DAE040-897C-443C-9DC2-12321DAD9700}" type="presOf" srcId="{CB295D2E-1724-483F-85EA-1299466E6A8B}" destId="{E6611974-2A3C-4CFA-B90F-942E9C0FC135}" srcOrd="0" destOrd="0" presId="urn:microsoft.com/office/officeart/2005/8/layout/hList9"/>
    <dgm:cxn modelId="{B34CFE69-F347-4112-A0E4-607223F92496}" srcId="{19B3EFC4-8A78-4741-9B76-F07EB8DA755A}" destId="{E20A7F6A-B29A-4D7A-9D2D-55051161F36A}" srcOrd="1" destOrd="0" parTransId="{9AA3F307-4FDB-4E79-83FC-0165F6A47B19}" sibTransId="{F3513846-5551-4AF3-B9D3-36F2A9777A2E}"/>
    <dgm:cxn modelId="{CF50E64B-C7B2-46F5-8B16-D835A10E62DE}" type="presOf" srcId="{ABB36983-0F4F-4148-9DAB-5AE4B59D00BA}" destId="{676942FA-DB2A-4DE6-B1A7-2C4F33875B04}" srcOrd="0" destOrd="0" presId="urn:microsoft.com/office/officeart/2005/8/layout/hList9"/>
    <dgm:cxn modelId="{7D6AAC56-4E6D-40B3-B594-50F69DA97939}" type="presOf" srcId="{825551D9-81BD-4418-9747-E185E71DB630}" destId="{A72C9388-1157-4E11-84C6-F8E058C61113}" srcOrd="1" destOrd="0" presId="urn:microsoft.com/office/officeart/2005/8/layout/hList9"/>
    <dgm:cxn modelId="{0C578684-FF1C-4205-9F4E-9AEC98302FB5}" type="presOf" srcId="{57871C86-6DDE-4954-A775-769AC619A6F5}" destId="{E553CB4C-163A-4FF9-8246-9DE67CF92F1B}" srcOrd="0" destOrd="0" presId="urn:microsoft.com/office/officeart/2005/8/layout/hList9"/>
    <dgm:cxn modelId="{D00B1A85-390F-494A-ABCA-0439062DFB47}" type="presOf" srcId="{E20A7F6A-B29A-4D7A-9D2D-55051161F36A}" destId="{508EB3A2-2D86-4F45-B444-1F787737756F}" srcOrd="1" destOrd="0" presId="urn:microsoft.com/office/officeart/2005/8/layout/hList9"/>
    <dgm:cxn modelId="{58FC7C8C-960D-49A8-B208-B7EF779187E8}" srcId="{75EF618C-BDB1-4E9F-990B-A89F26180E70}" destId="{E9B051F2-D8AE-4C48-A067-686EB24C04AB}" srcOrd="0" destOrd="0" parTransId="{F3861BD3-033C-44D7-9EC0-BC2C8295FE67}" sibTransId="{84996215-3488-462C-93A0-C1A816C80671}"/>
    <dgm:cxn modelId="{C9DF8C9A-31DE-4F26-AAAD-EE9B4F7E5C4E}" srcId="{8A0F5997-B1DC-41AB-8DC2-0D5B043C49DC}" destId="{19B3EFC4-8A78-4741-9B76-F07EB8DA755A}" srcOrd="0" destOrd="0" parTransId="{1E5786EF-00CB-4BAD-987D-F6A197BFB384}" sibTransId="{52C64453-D836-40EA-804E-9CD600D5DB98}"/>
    <dgm:cxn modelId="{F67E009B-AB28-4DB8-94C6-65D1803ED0CE}" srcId="{19B3EFC4-8A78-4741-9B76-F07EB8DA755A}" destId="{ABB36983-0F4F-4148-9DAB-5AE4B59D00BA}" srcOrd="0" destOrd="0" parTransId="{8731CEFF-CA29-4B6B-B748-C3F3B407BCF4}" sibTransId="{A2967654-248E-44D8-B612-DC295AF15119}"/>
    <dgm:cxn modelId="{F42D0A9E-A477-46C5-BB9F-05FCEB879795}" type="presOf" srcId="{19B3EFC4-8A78-4741-9B76-F07EB8DA755A}" destId="{6A0AB1BF-176D-4912-A558-069CD2444DE2}" srcOrd="0" destOrd="0" presId="urn:microsoft.com/office/officeart/2005/8/layout/hList9"/>
    <dgm:cxn modelId="{75A95EA2-37BA-4578-AD78-732C0911DE4E}" type="presOf" srcId="{75EF618C-BDB1-4E9F-990B-A89F26180E70}" destId="{AF76CFD8-02C8-4441-8215-EE5E775F4874}" srcOrd="0" destOrd="0" presId="urn:microsoft.com/office/officeart/2005/8/layout/hList9"/>
    <dgm:cxn modelId="{2B6B20AE-BF71-4A95-90A9-AB946AB764B0}" srcId="{75EF618C-BDB1-4E9F-990B-A89F26180E70}" destId="{CB295D2E-1724-483F-85EA-1299466E6A8B}" srcOrd="1" destOrd="0" parTransId="{C2943D54-E47C-406B-B351-21BD2D07FC25}" sibTransId="{265EDD8B-6576-43A6-8D10-5477AA6BBA1D}"/>
    <dgm:cxn modelId="{69A362BA-2CB5-4F75-A995-3D8B14C7EE2B}" srcId="{8A0F5997-B1DC-41AB-8DC2-0D5B043C49DC}" destId="{75EF618C-BDB1-4E9F-990B-A89F26180E70}" srcOrd="1" destOrd="0" parTransId="{CEAB8718-954F-4280-8360-025A1132AA4B}" sibTransId="{294DA2E7-12C7-4CC5-9129-6BA18309DFBA}"/>
    <dgm:cxn modelId="{FAC39EC2-D095-4C38-BB61-130836B36419}" srcId="{19B3EFC4-8A78-4741-9B76-F07EB8DA755A}" destId="{57871C86-6DDE-4954-A775-769AC619A6F5}" srcOrd="2" destOrd="0" parTransId="{CC98B98E-AE4A-46E2-B9FB-A639979E764C}" sibTransId="{49D354A5-2148-45AD-8253-3C4107A6FEAA}"/>
    <dgm:cxn modelId="{A53D0CC4-1084-471C-B0CC-DB6EF42DD793}" type="presOf" srcId="{ABB36983-0F4F-4148-9DAB-5AE4B59D00BA}" destId="{50836AAD-A6C5-4B70-BBD1-290237EAC5BC}" srcOrd="1" destOrd="0" presId="urn:microsoft.com/office/officeart/2005/8/layout/hList9"/>
    <dgm:cxn modelId="{507B1EC6-6F98-4A93-B12F-2C40BD27BD22}" type="presOf" srcId="{57871C86-6DDE-4954-A775-769AC619A6F5}" destId="{E4FB3ACF-3AE5-4BD9-9B9A-276B1046DAF6}" srcOrd="1" destOrd="0" presId="urn:microsoft.com/office/officeart/2005/8/layout/hList9"/>
    <dgm:cxn modelId="{AC7576D2-F009-43CF-8141-AB8627D2F17F}" type="presOf" srcId="{E20A7F6A-B29A-4D7A-9D2D-55051161F36A}" destId="{FC3D83FF-8FE1-411D-9168-38B0A3670960}" srcOrd="0" destOrd="0" presId="urn:microsoft.com/office/officeart/2005/8/layout/hList9"/>
    <dgm:cxn modelId="{E93525DB-E8A7-46AD-9B5F-9BC10C57E865}" type="presOf" srcId="{E9B051F2-D8AE-4C48-A067-686EB24C04AB}" destId="{C3608531-6245-4DDE-BFA2-C072977A3ED6}" srcOrd="1" destOrd="0" presId="urn:microsoft.com/office/officeart/2005/8/layout/hList9"/>
    <dgm:cxn modelId="{681CA5F4-3371-4939-8752-C8F15BD4BA2A}" type="presOf" srcId="{CB295D2E-1724-483F-85EA-1299466E6A8B}" destId="{62FA5732-28A0-4902-89F0-F786890C6334}" srcOrd="1" destOrd="0" presId="urn:microsoft.com/office/officeart/2005/8/layout/hList9"/>
    <dgm:cxn modelId="{A85D61FA-73A5-4929-AD41-035F6ABF3847}" type="presOf" srcId="{825551D9-81BD-4418-9747-E185E71DB630}" destId="{7B0C2434-EE96-42FE-A4BE-A4511F2BC7AC}" srcOrd="0" destOrd="0" presId="urn:microsoft.com/office/officeart/2005/8/layout/hList9"/>
    <dgm:cxn modelId="{27A8E793-D81F-4E50-9EBD-BFD36440519A}" type="presParOf" srcId="{D827C44E-FCD4-4C0A-8AD8-90CD7E85E308}" destId="{59EE10B7-170A-40BE-A091-E90E7F3D9971}" srcOrd="0" destOrd="0" presId="urn:microsoft.com/office/officeart/2005/8/layout/hList9"/>
    <dgm:cxn modelId="{B477C513-7E8F-4F77-B06E-56A077A7048A}" type="presParOf" srcId="{D827C44E-FCD4-4C0A-8AD8-90CD7E85E308}" destId="{CD03578D-B52C-4016-B7E7-B27CCA9A6C38}" srcOrd="1" destOrd="0" presId="urn:microsoft.com/office/officeart/2005/8/layout/hList9"/>
    <dgm:cxn modelId="{A5C26D45-FA76-468A-9E69-5211EC91EE00}" type="presParOf" srcId="{CD03578D-B52C-4016-B7E7-B27CCA9A6C38}" destId="{A48453A1-3BA8-4459-B16C-AE4FFF511469}" srcOrd="0" destOrd="0" presId="urn:microsoft.com/office/officeart/2005/8/layout/hList9"/>
    <dgm:cxn modelId="{220A4BD6-9AB8-4894-8D88-1FA60507BFC9}" type="presParOf" srcId="{CD03578D-B52C-4016-B7E7-B27CCA9A6C38}" destId="{147DBEE5-FD45-4681-A5D4-94C5E701AC45}" srcOrd="1" destOrd="0" presId="urn:microsoft.com/office/officeart/2005/8/layout/hList9"/>
    <dgm:cxn modelId="{80537F92-CA2C-4D82-A0C5-8611744DE745}" type="presParOf" srcId="{147DBEE5-FD45-4681-A5D4-94C5E701AC45}" destId="{676942FA-DB2A-4DE6-B1A7-2C4F33875B04}" srcOrd="0" destOrd="0" presId="urn:microsoft.com/office/officeart/2005/8/layout/hList9"/>
    <dgm:cxn modelId="{4C74A507-4B16-44DF-BF9C-E7572D367295}" type="presParOf" srcId="{147DBEE5-FD45-4681-A5D4-94C5E701AC45}" destId="{50836AAD-A6C5-4B70-BBD1-290237EAC5BC}" srcOrd="1" destOrd="0" presId="urn:microsoft.com/office/officeart/2005/8/layout/hList9"/>
    <dgm:cxn modelId="{FD4242C8-CE01-4CE0-A07F-88474AB062D5}" type="presParOf" srcId="{CD03578D-B52C-4016-B7E7-B27CCA9A6C38}" destId="{B5A55224-3B38-4FAB-8F27-8AF2BB81A010}" srcOrd="2" destOrd="0" presId="urn:microsoft.com/office/officeart/2005/8/layout/hList9"/>
    <dgm:cxn modelId="{66D6D3E0-E2C2-4D61-9A4C-D5CF85C6D746}" type="presParOf" srcId="{B5A55224-3B38-4FAB-8F27-8AF2BB81A010}" destId="{FC3D83FF-8FE1-411D-9168-38B0A3670960}" srcOrd="0" destOrd="0" presId="urn:microsoft.com/office/officeart/2005/8/layout/hList9"/>
    <dgm:cxn modelId="{F83B1BE1-FECF-405F-A57B-A90CD707B891}" type="presParOf" srcId="{B5A55224-3B38-4FAB-8F27-8AF2BB81A010}" destId="{508EB3A2-2D86-4F45-B444-1F787737756F}" srcOrd="1" destOrd="0" presId="urn:microsoft.com/office/officeart/2005/8/layout/hList9"/>
    <dgm:cxn modelId="{793DA507-0020-4389-8793-8D4A210DD53E}" type="presParOf" srcId="{CD03578D-B52C-4016-B7E7-B27CCA9A6C38}" destId="{D9492CF5-23D4-4A0A-A6CF-DD8FF1AAC9CB}" srcOrd="3" destOrd="0" presId="urn:microsoft.com/office/officeart/2005/8/layout/hList9"/>
    <dgm:cxn modelId="{00F668FD-2308-43D6-A7AE-36057597BF14}" type="presParOf" srcId="{D9492CF5-23D4-4A0A-A6CF-DD8FF1AAC9CB}" destId="{E553CB4C-163A-4FF9-8246-9DE67CF92F1B}" srcOrd="0" destOrd="0" presId="urn:microsoft.com/office/officeart/2005/8/layout/hList9"/>
    <dgm:cxn modelId="{58F0B452-BAD8-499B-B1F7-D4E6D5C43939}" type="presParOf" srcId="{D9492CF5-23D4-4A0A-A6CF-DD8FF1AAC9CB}" destId="{E4FB3ACF-3AE5-4BD9-9B9A-276B1046DAF6}" srcOrd="1" destOrd="0" presId="urn:microsoft.com/office/officeart/2005/8/layout/hList9"/>
    <dgm:cxn modelId="{50FB0F3F-CF76-4C74-BB37-A9DF9B0F98BA}" type="presParOf" srcId="{D827C44E-FCD4-4C0A-8AD8-90CD7E85E308}" destId="{42441BD1-3404-4F89-9AA0-95F01DD1601E}" srcOrd="2" destOrd="0" presId="urn:microsoft.com/office/officeart/2005/8/layout/hList9"/>
    <dgm:cxn modelId="{AA469E7B-FF61-446F-94A2-EB8168244B06}" type="presParOf" srcId="{D827C44E-FCD4-4C0A-8AD8-90CD7E85E308}" destId="{6A0AB1BF-176D-4912-A558-069CD2444DE2}" srcOrd="3" destOrd="0" presId="urn:microsoft.com/office/officeart/2005/8/layout/hList9"/>
    <dgm:cxn modelId="{80694592-DCAD-433F-AF9F-02DF76D183F9}" type="presParOf" srcId="{D827C44E-FCD4-4C0A-8AD8-90CD7E85E308}" destId="{72DF805D-8D69-4FEE-A9B9-C009AF17FAFE}" srcOrd="4" destOrd="0" presId="urn:microsoft.com/office/officeart/2005/8/layout/hList9"/>
    <dgm:cxn modelId="{E2554CDB-F752-4A8D-8B2B-7F77E5E01E93}" type="presParOf" srcId="{D827C44E-FCD4-4C0A-8AD8-90CD7E85E308}" destId="{AF15A64F-F562-4639-9ADA-99EE58D5A701}" srcOrd="5" destOrd="0" presId="urn:microsoft.com/office/officeart/2005/8/layout/hList9"/>
    <dgm:cxn modelId="{81524059-782D-4D8B-93E0-CC22B50A2188}" type="presParOf" srcId="{D827C44E-FCD4-4C0A-8AD8-90CD7E85E308}" destId="{E00E17A5-1103-438A-87DA-7F0A35F3F580}" srcOrd="6" destOrd="0" presId="urn:microsoft.com/office/officeart/2005/8/layout/hList9"/>
    <dgm:cxn modelId="{8A2F8931-EAB8-4261-B46E-006B0824EE88}" type="presParOf" srcId="{E00E17A5-1103-438A-87DA-7F0A35F3F580}" destId="{72529487-0013-4D92-84AD-0F8A36B7CA15}" srcOrd="0" destOrd="0" presId="urn:microsoft.com/office/officeart/2005/8/layout/hList9"/>
    <dgm:cxn modelId="{1F8AE6D4-E223-450C-86FF-FD9C3133C0A3}" type="presParOf" srcId="{E00E17A5-1103-438A-87DA-7F0A35F3F580}" destId="{83A2E34B-F343-4852-8035-04799DF194A9}" srcOrd="1" destOrd="0" presId="urn:microsoft.com/office/officeart/2005/8/layout/hList9"/>
    <dgm:cxn modelId="{8B795C41-40B5-40A0-A5A6-887344502CA1}" type="presParOf" srcId="{83A2E34B-F343-4852-8035-04799DF194A9}" destId="{1A05FC16-C614-4C98-8888-4C13A883B7A8}" srcOrd="0" destOrd="0" presId="urn:microsoft.com/office/officeart/2005/8/layout/hList9"/>
    <dgm:cxn modelId="{9803F331-3247-4B0D-BCE7-2F02825FCB58}" type="presParOf" srcId="{83A2E34B-F343-4852-8035-04799DF194A9}" destId="{C3608531-6245-4DDE-BFA2-C072977A3ED6}" srcOrd="1" destOrd="0" presId="urn:microsoft.com/office/officeart/2005/8/layout/hList9"/>
    <dgm:cxn modelId="{516285E7-A1DB-4727-A763-5F9C0945F8A2}" type="presParOf" srcId="{E00E17A5-1103-438A-87DA-7F0A35F3F580}" destId="{519149FF-2160-43F4-9FE4-D45B9ED63352}" srcOrd="2" destOrd="0" presId="urn:microsoft.com/office/officeart/2005/8/layout/hList9"/>
    <dgm:cxn modelId="{2334A8E5-93DC-4BBD-AB1E-F196C1497411}" type="presParOf" srcId="{519149FF-2160-43F4-9FE4-D45B9ED63352}" destId="{E6611974-2A3C-4CFA-B90F-942E9C0FC135}" srcOrd="0" destOrd="0" presId="urn:microsoft.com/office/officeart/2005/8/layout/hList9"/>
    <dgm:cxn modelId="{A63079BE-6F4A-4C7B-9FD1-8B1E007B153C}" type="presParOf" srcId="{519149FF-2160-43F4-9FE4-D45B9ED63352}" destId="{62FA5732-28A0-4902-89F0-F786890C6334}" srcOrd="1" destOrd="0" presId="urn:microsoft.com/office/officeart/2005/8/layout/hList9"/>
    <dgm:cxn modelId="{25EC4B8B-206E-4942-AC00-46CE7F4A4601}" type="presParOf" srcId="{E00E17A5-1103-438A-87DA-7F0A35F3F580}" destId="{F3684A09-4A75-4B4B-978E-9D4339B2F576}" srcOrd="3" destOrd="0" presId="urn:microsoft.com/office/officeart/2005/8/layout/hList9"/>
    <dgm:cxn modelId="{17CED3B3-282F-4E2B-AB00-4FEF1A59841F}" type="presParOf" srcId="{F3684A09-4A75-4B4B-978E-9D4339B2F576}" destId="{7B0C2434-EE96-42FE-A4BE-A4511F2BC7AC}" srcOrd="0" destOrd="0" presId="urn:microsoft.com/office/officeart/2005/8/layout/hList9"/>
    <dgm:cxn modelId="{02AF14DD-EB3E-47FA-A675-2FE0E22C1F83}" type="presParOf" srcId="{F3684A09-4A75-4B4B-978E-9D4339B2F576}" destId="{A72C9388-1157-4E11-84C6-F8E058C61113}" srcOrd="1" destOrd="0" presId="urn:microsoft.com/office/officeart/2005/8/layout/hList9"/>
    <dgm:cxn modelId="{2E2B464C-76BC-4AD9-A61E-7CF7EC564C77}" type="presParOf" srcId="{D827C44E-FCD4-4C0A-8AD8-90CD7E85E308}" destId="{7E19EA46-882A-47C3-9DBE-4ED3FC5F9D27}" srcOrd="7" destOrd="0" presId="urn:microsoft.com/office/officeart/2005/8/layout/hList9"/>
    <dgm:cxn modelId="{78325E1A-42B4-44EE-AD30-9683F5747F01}" type="presParOf" srcId="{D827C44E-FCD4-4C0A-8AD8-90CD7E85E308}" destId="{AF76CFD8-02C8-4441-8215-EE5E775F4874}" srcOrd="8" destOrd="0" presId="urn:microsoft.com/office/officeart/2005/8/layout/hList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BB1FF1E-8221-4D90-A459-689024E4DA58}" type="doc">
      <dgm:prSet loTypeId="urn:microsoft.com/office/officeart/2005/8/layout/process1" loCatId="process" qsTypeId="urn:microsoft.com/office/officeart/2005/8/quickstyle/simple1" qsCatId="simple" csTypeId="urn:microsoft.com/office/officeart/2005/8/colors/accent1_2" csCatId="accent1" phldr="1"/>
      <dgm:spPr/>
    </dgm:pt>
    <dgm:pt modelId="{9F51E6C9-2FA0-4591-9F1C-5F2DDB47284B}">
      <dgm:prSet phldrT="[Text]" custT="1"/>
      <dgm:spPr>
        <a:solidFill>
          <a:schemeClr val="bg1">
            <a:lumMod val="95000"/>
          </a:schemeClr>
        </a:solidFill>
      </dgm:spPr>
      <dgm:t>
        <a:bodyPr/>
        <a:lstStyle/>
        <a:p>
          <a:r>
            <a:rPr lang="en-IN" sz="1100" dirty="0">
              <a:solidFill>
                <a:schemeClr val="tx1"/>
              </a:solidFill>
              <a:latin typeface="Calibri" panose="020F0502020204030204" pitchFamily="34" charset="0"/>
              <a:cs typeface="Calibri" panose="020F0502020204030204" pitchFamily="34" charset="0"/>
            </a:rPr>
            <a:t>Correlation </a:t>
          </a:r>
        </a:p>
        <a:p>
          <a:r>
            <a:rPr lang="en-IN" sz="1100" dirty="0">
              <a:solidFill>
                <a:schemeClr val="tx1"/>
              </a:solidFill>
              <a:latin typeface="Calibri" panose="020F0502020204030204" pitchFamily="34" charset="0"/>
              <a:cs typeface="Calibri" panose="020F0502020204030204" pitchFamily="34" charset="0"/>
            </a:rPr>
            <a:t>(Returns, Volatility and Beta</a:t>
          </a:r>
          <a:r>
            <a:rPr lang="en-IN" sz="1200" dirty="0">
              <a:solidFill>
                <a:schemeClr val="tx1"/>
              </a:solidFill>
              <a:latin typeface="Calibri" panose="020F0502020204030204" pitchFamily="34" charset="0"/>
              <a:cs typeface="Calibri" panose="020F0502020204030204" pitchFamily="34" charset="0"/>
            </a:rPr>
            <a:t>)</a:t>
          </a:r>
        </a:p>
      </dgm:t>
    </dgm:pt>
    <dgm:pt modelId="{85DCB0F6-3BC5-435A-93F7-882EE2E9F476}" cxnId="{08647298-55E9-4C33-AA6C-4013B44B9FEE}" type="parTrans">
      <dgm:prSet/>
      <dgm:spPr/>
      <dgm:t>
        <a:bodyPr/>
        <a:lstStyle/>
        <a:p>
          <a:endParaRPr lang="en-IN" sz="1200">
            <a:latin typeface="Calibri" panose="020F0502020204030204" pitchFamily="34" charset="0"/>
            <a:cs typeface="Calibri" panose="020F0502020204030204" pitchFamily="34" charset="0"/>
          </a:endParaRPr>
        </a:p>
      </dgm:t>
    </dgm:pt>
    <dgm:pt modelId="{E5D20C84-5BEA-4831-BA32-2D7F0A113527}" cxnId="{08647298-55E9-4C33-AA6C-4013B44B9FEE}" type="sibTrans">
      <dgm:prSet custT="1"/>
      <dgm:spPr/>
      <dgm:t>
        <a:bodyPr/>
        <a:lstStyle/>
        <a:p>
          <a:endParaRPr lang="en-IN" sz="1200">
            <a:latin typeface="Calibri" panose="020F0502020204030204" pitchFamily="34" charset="0"/>
            <a:cs typeface="Calibri" panose="020F0502020204030204" pitchFamily="34" charset="0"/>
          </a:endParaRPr>
        </a:p>
      </dgm:t>
    </dgm:pt>
    <dgm:pt modelId="{23BE4400-AB87-43D9-BFDF-337E2C4F8A4D}">
      <dgm:prSet phldrT="[Text]" custT="1"/>
      <dgm:spPr/>
      <dgm:t>
        <a:bodyPr/>
        <a:lstStyle/>
        <a:p>
          <a:r>
            <a:rPr lang="en-IN" sz="1000" dirty="0">
              <a:latin typeface="Calibri" panose="020F0502020204030204" pitchFamily="34" charset="0"/>
              <a:cs typeface="Calibri" panose="020F0502020204030204" pitchFamily="34" charset="0"/>
            </a:rPr>
            <a:t>Portfolio Holdings  &amp; Allocation to various sectors </a:t>
          </a:r>
        </a:p>
      </dgm:t>
    </dgm:pt>
    <dgm:pt modelId="{EE5789ED-8C89-470F-BDFC-8C42FBE4F210}" cxnId="{A6AACEE1-14C6-42E4-A523-2CFE2EBE2E6F}" type="parTrans">
      <dgm:prSet/>
      <dgm:spPr/>
      <dgm:t>
        <a:bodyPr/>
        <a:lstStyle/>
        <a:p>
          <a:endParaRPr lang="en-IN" sz="1200">
            <a:latin typeface="Calibri" panose="020F0502020204030204" pitchFamily="34" charset="0"/>
            <a:cs typeface="Calibri" panose="020F0502020204030204" pitchFamily="34" charset="0"/>
          </a:endParaRPr>
        </a:p>
      </dgm:t>
    </dgm:pt>
    <dgm:pt modelId="{EE1AB74A-837C-4FE0-BAC6-C19FA361D4D2}" cxnId="{A6AACEE1-14C6-42E4-A523-2CFE2EBE2E6F}" type="sibTrans">
      <dgm:prSet custT="1"/>
      <dgm:spPr/>
      <dgm:t>
        <a:bodyPr/>
        <a:lstStyle/>
        <a:p>
          <a:endParaRPr lang="en-IN" sz="1200">
            <a:latin typeface="Calibri" panose="020F0502020204030204" pitchFamily="34" charset="0"/>
            <a:cs typeface="Calibri" panose="020F0502020204030204" pitchFamily="34" charset="0"/>
          </a:endParaRPr>
        </a:p>
      </dgm:t>
    </dgm:pt>
    <dgm:pt modelId="{5AE5E484-81CE-44F6-8BEB-4BEC9677D13E}">
      <dgm:prSet phldrT="[Text]" custT="1"/>
      <dgm:spPr>
        <a:solidFill>
          <a:schemeClr val="bg1">
            <a:lumMod val="95000"/>
          </a:schemeClr>
        </a:solidFill>
      </dgm:spPr>
      <dgm:t>
        <a:bodyPr/>
        <a:lstStyle/>
        <a:p>
          <a:r>
            <a:rPr lang="en-IN" sz="1100" dirty="0">
              <a:solidFill>
                <a:schemeClr val="tx1"/>
              </a:solidFill>
              <a:latin typeface="Calibri" panose="020F0502020204030204" pitchFamily="34" charset="0"/>
              <a:cs typeface="Calibri" panose="020F0502020204030204" pitchFamily="34" charset="0"/>
            </a:rPr>
            <a:t>Financial Metrics of the portfolio (ROEs, Net Profits and Valuations)</a:t>
          </a:r>
        </a:p>
      </dgm:t>
    </dgm:pt>
    <dgm:pt modelId="{7CF025E0-2E2E-4326-B106-91E833AEDC13}" cxnId="{13898384-840A-4E85-B6DD-A074BC5FDE1C}" type="parTrans">
      <dgm:prSet/>
      <dgm:spPr/>
      <dgm:t>
        <a:bodyPr/>
        <a:lstStyle/>
        <a:p>
          <a:endParaRPr lang="en-IN" sz="1200">
            <a:latin typeface="Calibri" panose="020F0502020204030204" pitchFamily="34" charset="0"/>
            <a:cs typeface="Calibri" panose="020F0502020204030204" pitchFamily="34" charset="0"/>
          </a:endParaRPr>
        </a:p>
      </dgm:t>
    </dgm:pt>
    <dgm:pt modelId="{5B35EC58-1E50-419C-A1D6-7983F8AEAF44}" cxnId="{13898384-840A-4E85-B6DD-A074BC5FDE1C}" type="sibTrans">
      <dgm:prSet/>
      <dgm:spPr/>
      <dgm:t>
        <a:bodyPr/>
        <a:lstStyle/>
        <a:p>
          <a:endParaRPr lang="en-IN" sz="1200">
            <a:latin typeface="Calibri" panose="020F0502020204030204" pitchFamily="34" charset="0"/>
            <a:cs typeface="Calibri" panose="020F0502020204030204" pitchFamily="34" charset="0"/>
          </a:endParaRPr>
        </a:p>
      </dgm:t>
    </dgm:pt>
    <dgm:pt modelId="{42BCF402-88E3-4C09-BE7C-36AD5730A1A7}" type="pres">
      <dgm:prSet presAssocID="{9BB1FF1E-8221-4D90-A459-689024E4DA58}" presName="Name0" presStyleCnt="0">
        <dgm:presLayoutVars>
          <dgm:dir/>
          <dgm:resizeHandles val="exact"/>
        </dgm:presLayoutVars>
      </dgm:prSet>
      <dgm:spPr/>
    </dgm:pt>
    <dgm:pt modelId="{8374A314-3CC7-4B24-8DA2-29A96E9F5802}" type="pres">
      <dgm:prSet presAssocID="{9F51E6C9-2FA0-4591-9F1C-5F2DDB47284B}" presName="node" presStyleLbl="node1" presStyleIdx="0" presStyleCnt="3">
        <dgm:presLayoutVars>
          <dgm:bulletEnabled val="1"/>
        </dgm:presLayoutVars>
      </dgm:prSet>
      <dgm:spPr/>
    </dgm:pt>
    <dgm:pt modelId="{CA6A36EA-36D3-4EB3-8C74-DE355719CC86}" type="pres">
      <dgm:prSet presAssocID="{E5D20C84-5BEA-4831-BA32-2D7F0A113527}" presName="sibTrans" presStyleLbl="sibTrans2D1" presStyleIdx="0" presStyleCnt="2"/>
      <dgm:spPr/>
    </dgm:pt>
    <dgm:pt modelId="{A2CB7159-ED3B-44E8-8597-F434FE9A3892}" type="pres">
      <dgm:prSet presAssocID="{E5D20C84-5BEA-4831-BA32-2D7F0A113527}" presName="connectorText" presStyleLbl="sibTrans2D1" presStyleIdx="0" presStyleCnt="2"/>
      <dgm:spPr/>
    </dgm:pt>
    <dgm:pt modelId="{01A96C5F-756B-4A23-B040-C1BDBF5A6AD0}" type="pres">
      <dgm:prSet presAssocID="{23BE4400-AB87-43D9-BFDF-337E2C4F8A4D}" presName="node" presStyleLbl="node1" presStyleIdx="1" presStyleCnt="3">
        <dgm:presLayoutVars>
          <dgm:bulletEnabled val="1"/>
        </dgm:presLayoutVars>
      </dgm:prSet>
      <dgm:spPr/>
    </dgm:pt>
    <dgm:pt modelId="{62BA4AC0-9C20-4B2C-9061-20AF2980C983}" type="pres">
      <dgm:prSet presAssocID="{EE1AB74A-837C-4FE0-BAC6-C19FA361D4D2}" presName="sibTrans" presStyleLbl="sibTrans2D1" presStyleIdx="1" presStyleCnt="2"/>
      <dgm:spPr/>
    </dgm:pt>
    <dgm:pt modelId="{06F0DC57-BF20-48F4-950E-C6F3318F6B7B}" type="pres">
      <dgm:prSet presAssocID="{EE1AB74A-837C-4FE0-BAC6-C19FA361D4D2}" presName="connectorText" presStyleLbl="sibTrans2D1" presStyleIdx="1" presStyleCnt="2"/>
      <dgm:spPr/>
    </dgm:pt>
    <dgm:pt modelId="{3BD33809-17AE-498A-892E-90725C45DC96}" type="pres">
      <dgm:prSet presAssocID="{5AE5E484-81CE-44F6-8BEB-4BEC9677D13E}" presName="node" presStyleLbl="node1" presStyleIdx="2" presStyleCnt="3">
        <dgm:presLayoutVars>
          <dgm:bulletEnabled val="1"/>
        </dgm:presLayoutVars>
      </dgm:prSet>
      <dgm:spPr/>
    </dgm:pt>
  </dgm:ptLst>
  <dgm:cxnLst>
    <dgm:cxn modelId="{B4E63116-2942-4585-AF9B-D08C05B8EC43}" type="presOf" srcId="{EE1AB74A-837C-4FE0-BAC6-C19FA361D4D2}" destId="{62BA4AC0-9C20-4B2C-9061-20AF2980C983}" srcOrd="0" destOrd="0" presId="urn:microsoft.com/office/officeart/2005/8/layout/process1"/>
    <dgm:cxn modelId="{ABB17127-5521-4A1C-8B8E-0557BE19825E}" type="presOf" srcId="{9BB1FF1E-8221-4D90-A459-689024E4DA58}" destId="{42BCF402-88E3-4C09-BE7C-36AD5730A1A7}" srcOrd="0" destOrd="0" presId="urn:microsoft.com/office/officeart/2005/8/layout/process1"/>
    <dgm:cxn modelId="{7AC86932-DEDB-4326-9F65-859395B2201C}" type="presOf" srcId="{23BE4400-AB87-43D9-BFDF-337E2C4F8A4D}" destId="{01A96C5F-756B-4A23-B040-C1BDBF5A6AD0}" srcOrd="0" destOrd="0" presId="urn:microsoft.com/office/officeart/2005/8/layout/process1"/>
    <dgm:cxn modelId="{6BBA656C-24CA-4B30-82BD-094490672BDD}" type="presOf" srcId="{5AE5E484-81CE-44F6-8BEB-4BEC9677D13E}" destId="{3BD33809-17AE-498A-892E-90725C45DC96}" srcOrd="0" destOrd="0" presId="urn:microsoft.com/office/officeart/2005/8/layout/process1"/>
    <dgm:cxn modelId="{6AD60351-B5AA-436F-AE4C-D7A4C6EEC169}" type="presOf" srcId="{EE1AB74A-837C-4FE0-BAC6-C19FA361D4D2}" destId="{06F0DC57-BF20-48F4-950E-C6F3318F6B7B}" srcOrd="1" destOrd="0" presId="urn:microsoft.com/office/officeart/2005/8/layout/process1"/>
    <dgm:cxn modelId="{532D5882-2AB8-4856-B35F-89EBF3AEB642}" type="presOf" srcId="{E5D20C84-5BEA-4831-BA32-2D7F0A113527}" destId="{A2CB7159-ED3B-44E8-8597-F434FE9A3892}" srcOrd="1" destOrd="0" presId="urn:microsoft.com/office/officeart/2005/8/layout/process1"/>
    <dgm:cxn modelId="{13898384-840A-4E85-B6DD-A074BC5FDE1C}" srcId="{9BB1FF1E-8221-4D90-A459-689024E4DA58}" destId="{5AE5E484-81CE-44F6-8BEB-4BEC9677D13E}" srcOrd="2" destOrd="0" parTransId="{7CF025E0-2E2E-4326-B106-91E833AEDC13}" sibTransId="{5B35EC58-1E50-419C-A1D6-7983F8AEAF44}"/>
    <dgm:cxn modelId="{08647298-55E9-4C33-AA6C-4013B44B9FEE}" srcId="{9BB1FF1E-8221-4D90-A459-689024E4DA58}" destId="{9F51E6C9-2FA0-4591-9F1C-5F2DDB47284B}" srcOrd="0" destOrd="0" parTransId="{85DCB0F6-3BC5-435A-93F7-882EE2E9F476}" sibTransId="{E5D20C84-5BEA-4831-BA32-2D7F0A113527}"/>
    <dgm:cxn modelId="{A6AACEE1-14C6-42E4-A523-2CFE2EBE2E6F}" srcId="{9BB1FF1E-8221-4D90-A459-689024E4DA58}" destId="{23BE4400-AB87-43D9-BFDF-337E2C4F8A4D}" srcOrd="1" destOrd="0" parTransId="{EE5789ED-8C89-470F-BDFC-8C42FBE4F210}" sibTransId="{EE1AB74A-837C-4FE0-BAC6-C19FA361D4D2}"/>
    <dgm:cxn modelId="{55E754E3-5A59-437D-BCCD-5066860FF880}" type="presOf" srcId="{9F51E6C9-2FA0-4591-9F1C-5F2DDB47284B}" destId="{8374A314-3CC7-4B24-8DA2-29A96E9F5802}" srcOrd="0" destOrd="0" presId="urn:microsoft.com/office/officeart/2005/8/layout/process1"/>
    <dgm:cxn modelId="{5EFADFE8-1895-41FB-8C72-13E3704EB3D5}" type="presOf" srcId="{E5D20C84-5BEA-4831-BA32-2D7F0A113527}" destId="{CA6A36EA-36D3-4EB3-8C74-DE355719CC86}" srcOrd="0" destOrd="0" presId="urn:microsoft.com/office/officeart/2005/8/layout/process1"/>
    <dgm:cxn modelId="{EF4136AD-D9DE-4756-8C85-1D3512E3BE05}" type="presParOf" srcId="{42BCF402-88E3-4C09-BE7C-36AD5730A1A7}" destId="{8374A314-3CC7-4B24-8DA2-29A96E9F5802}" srcOrd="0" destOrd="0" presId="urn:microsoft.com/office/officeart/2005/8/layout/process1"/>
    <dgm:cxn modelId="{1D9BFC7C-C1E4-40D3-9124-AAF1A0566A33}" type="presParOf" srcId="{42BCF402-88E3-4C09-BE7C-36AD5730A1A7}" destId="{CA6A36EA-36D3-4EB3-8C74-DE355719CC86}" srcOrd="1" destOrd="0" presId="urn:microsoft.com/office/officeart/2005/8/layout/process1"/>
    <dgm:cxn modelId="{DF471FE4-73A1-4CC7-8CE5-16FD477A3537}" type="presParOf" srcId="{CA6A36EA-36D3-4EB3-8C74-DE355719CC86}" destId="{A2CB7159-ED3B-44E8-8597-F434FE9A3892}" srcOrd="0" destOrd="0" presId="urn:microsoft.com/office/officeart/2005/8/layout/process1"/>
    <dgm:cxn modelId="{719B1025-E432-4B8F-928F-A7DA775CEB22}" type="presParOf" srcId="{42BCF402-88E3-4C09-BE7C-36AD5730A1A7}" destId="{01A96C5F-756B-4A23-B040-C1BDBF5A6AD0}" srcOrd="2" destOrd="0" presId="urn:microsoft.com/office/officeart/2005/8/layout/process1"/>
    <dgm:cxn modelId="{738260D7-9210-48AC-B162-91DEF06F00F4}" type="presParOf" srcId="{42BCF402-88E3-4C09-BE7C-36AD5730A1A7}" destId="{62BA4AC0-9C20-4B2C-9061-20AF2980C983}" srcOrd="3" destOrd="0" presId="urn:microsoft.com/office/officeart/2005/8/layout/process1"/>
    <dgm:cxn modelId="{0DA438F9-9097-4DA5-98EC-0E14887D60AE}" type="presParOf" srcId="{62BA4AC0-9C20-4B2C-9061-20AF2980C983}" destId="{06F0DC57-BF20-48F4-950E-C6F3318F6B7B}" srcOrd="0" destOrd="0" presId="urn:microsoft.com/office/officeart/2005/8/layout/process1"/>
    <dgm:cxn modelId="{5956A1A5-4DC6-4D11-871B-D3E873F9A598}" type="presParOf" srcId="{42BCF402-88E3-4C09-BE7C-36AD5730A1A7}" destId="{3BD33809-17AE-498A-892E-90725C45DC96}" srcOrd="4" destOrd="0" presId="urn:microsoft.com/office/officeart/2005/8/layout/process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BBDB9ED-85EA-4BFF-8E2B-C328B0C4B098}" type="doc">
      <dgm:prSet loTypeId="urn:microsoft.com/office/officeart/2005/8/layout/equation1" loCatId="relationship" qsTypeId="urn:microsoft.com/office/officeart/2005/8/quickstyle/simple1" qsCatId="simple" csTypeId="urn:microsoft.com/office/officeart/2005/8/colors/accent1_2" csCatId="accent1" phldr="1"/>
      <dgm:spPr/>
    </dgm:pt>
    <dgm:pt modelId="{76299FB4-520D-4327-BA80-E82397FC34BB}">
      <dgm:prSet phldrT="[Text]" custT="1"/>
      <dgm:spPr>
        <a:solidFill>
          <a:schemeClr val="bg1"/>
        </a:solidFill>
        <a:ln>
          <a:solidFill>
            <a:srgbClr val="002060"/>
          </a:solidFill>
        </a:ln>
      </dgm:spPr>
      <dgm:t>
        <a:bodyPr/>
        <a:lstStyle/>
        <a:p>
          <a:r>
            <a:rPr lang="en-US" sz="1400" dirty="0">
              <a:solidFill>
                <a:schemeClr val="tx1"/>
              </a:solidFill>
              <a:latin typeface="Calibri" panose="020F0502020204030204" pitchFamily="34" charset="0"/>
            </a:rPr>
            <a:t>Active Managers</a:t>
          </a:r>
        </a:p>
        <a:p>
          <a:r>
            <a:rPr lang="en-US" sz="1400" dirty="0">
              <a:solidFill>
                <a:schemeClr val="tx1"/>
              </a:solidFill>
              <a:latin typeface="Calibri" panose="020F0502020204030204" pitchFamily="34" charset="0"/>
            </a:rPr>
            <a:t>(70%)</a:t>
          </a:r>
        </a:p>
      </dgm:t>
    </dgm:pt>
    <dgm:pt modelId="{AFF1163C-6F14-4706-8237-E407DF4EF3D4}" cxnId="{DEACE567-47B7-49A8-B4DD-393DDD0BB799}" type="parTrans">
      <dgm:prSet/>
      <dgm:spPr/>
      <dgm:t>
        <a:bodyPr/>
        <a:lstStyle/>
        <a:p>
          <a:endParaRPr lang="en-US"/>
        </a:p>
      </dgm:t>
    </dgm:pt>
    <dgm:pt modelId="{5325EEEE-6047-48FA-8DE8-5F12E389777E}" cxnId="{DEACE567-47B7-49A8-B4DD-393DDD0BB799}" type="sibTrans">
      <dgm:prSet/>
      <dgm:spPr>
        <a:solidFill>
          <a:schemeClr val="bg1">
            <a:lumMod val="95000"/>
          </a:schemeClr>
        </a:solidFill>
      </dgm:spPr>
      <dgm:t>
        <a:bodyPr/>
        <a:lstStyle/>
        <a:p>
          <a:endParaRPr lang="en-US"/>
        </a:p>
      </dgm:t>
    </dgm:pt>
    <dgm:pt modelId="{1CCECC4C-A0A3-4F32-B8C6-46FF1788DBE8}">
      <dgm:prSet phldrT="[Text]" custT="1"/>
      <dgm:spPr>
        <a:solidFill>
          <a:schemeClr val="bg1"/>
        </a:solidFill>
        <a:ln>
          <a:solidFill>
            <a:srgbClr val="002060"/>
          </a:solidFill>
        </a:ln>
      </dgm:spPr>
      <dgm:t>
        <a:bodyPr/>
        <a:lstStyle/>
        <a:p>
          <a:r>
            <a:rPr lang="en-US" sz="1500" dirty="0">
              <a:solidFill>
                <a:schemeClr val="tx1"/>
              </a:solidFill>
              <a:latin typeface="Calibri" panose="020F0502020204030204" pitchFamily="34" charset="0"/>
            </a:rPr>
            <a:t>ETFs</a:t>
          </a:r>
        </a:p>
        <a:p>
          <a:r>
            <a:rPr lang="en-US" sz="1500" dirty="0">
              <a:solidFill>
                <a:schemeClr val="tx1"/>
              </a:solidFill>
              <a:latin typeface="Calibri" panose="020F0502020204030204" pitchFamily="34" charset="0"/>
            </a:rPr>
            <a:t>(30%)</a:t>
          </a:r>
        </a:p>
      </dgm:t>
    </dgm:pt>
    <dgm:pt modelId="{CE7732E6-AAFE-41F4-A297-32AAEF4D1C29}" cxnId="{9979A1C5-694C-4B06-B273-DDA4566F3548}" type="parTrans">
      <dgm:prSet/>
      <dgm:spPr/>
      <dgm:t>
        <a:bodyPr/>
        <a:lstStyle/>
        <a:p>
          <a:endParaRPr lang="en-US"/>
        </a:p>
      </dgm:t>
    </dgm:pt>
    <dgm:pt modelId="{A3D59772-CD50-4054-9E82-7E0E3DC51322}" cxnId="{9979A1C5-694C-4B06-B273-DDA4566F3548}" type="sibTrans">
      <dgm:prSet/>
      <dgm:spPr>
        <a:solidFill>
          <a:schemeClr val="bg1">
            <a:lumMod val="95000"/>
          </a:schemeClr>
        </a:solidFill>
      </dgm:spPr>
      <dgm:t>
        <a:bodyPr/>
        <a:lstStyle/>
        <a:p>
          <a:endParaRPr lang="en-US"/>
        </a:p>
      </dgm:t>
    </dgm:pt>
    <dgm:pt modelId="{B3121CEA-96E5-4585-919D-35E5C11C7F0E}">
      <dgm:prSet phldrT="[Text]" custT="1"/>
      <dgm:spPr>
        <a:solidFill>
          <a:srgbClr val="00A290"/>
        </a:solidFill>
        <a:ln>
          <a:solidFill>
            <a:schemeClr val="bg1"/>
          </a:solidFill>
        </a:ln>
      </dgm:spPr>
      <dgm:t>
        <a:bodyPr/>
        <a:lstStyle/>
        <a:p>
          <a:r>
            <a:rPr lang="en-US" sz="1500" dirty="0">
              <a:solidFill>
                <a:schemeClr val="bg1">
                  <a:lumMod val="95000"/>
                </a:schemeClr>
              </a:solidFill>
              <a:latin typeface="Calibri" panose="020F0502020204030204" pitchFamily="34" charset="0"/>
            </a:rPr>
            <a:t>CA Multi-Manager Portfolio</a:t>
          </a:r>
        </a:p>
      </dgm:t>
    </dgm:pt>
    <dgm:pt modelId="{BEB8E10E-FC72-43F9-95E5-8821A2CD4BE8}" cxnId="{A6413653-04FE-44CF-B8ED-4E3C3BD717DD}" type="parTrans">
      <dgm:prSet/>
      <dgm:spPr/>
      <dgm:t>
        <a:bodyPr/>
        <a:lstStyle/>
        <a:p>
          <a:endParaRPr lang="en-US"/>
        </a:p>
      </dgm:t>
    </dgm:pt>
    <dgm:pt modelId="{14D50352-A4BE-4D39-B5A0-F96D010F5B42}" cxnId="{A6413653-04FE-44CF-B8ED-4E3C3BD717DD}" type="sibTrans">
      <dgm:prSet/>
      <dgm:spPr/>
      <dgm:t>
        <a:bodyPr/>
        <a:lstStyle/>
        <a:p>
          <a:endParaRPr lang="en-US"/>
        </a:p>
      </dgm:t>
    </dgm:pt>
    <dgm:pt modelId="{4DE10F1E-FC39-4595-AF85-2B346868C3D3}" type="pres">
      <dgm:prSet presAssocID="{9BBDB9ED-85EA-4BFF-8E2B-C328B0C4B098}" presName="linearFlow" presStyleCnt="0">
        <dgm:presLayoutVars>
          <dgm:dir/>
          <dgm:resizeHandles val="exact"/>
        </dgm:presLayoutVars>
      </dgm:prSet>
      <dgm:spPr/>
    </dgm:pt>
    <dgm:pt modelId="{DFD0DBF3-844F-48DD-B5A6-9F807548FE5D}" type="pres">
      <dgm:prSet presAssocID="{76299FB4-520D-4327-BA80-E82397FC34BB}" presName="node" presStyleLbl="node1" presStyleIdx="0" presStyleCnt="3">
        <dgm:presLayoutVars>
          <dgm:bulletEnabled val="1"/>
        </dgm:presLayoutVars>
      </dgm:prSet>
      <dgm:spPr/>
    </dgm:pt>
    <dgm:pt modelId="{DB3C0644-CE1B-400E-8F00-707955E95FA4}" type="pres">
      <dgm:prSet presAssocID="{5325EEEE-6047-48FA-8DE8-5F12E389777E}" presName="spacerL" presStyleCnt="0"/>
      <dgm:spPr/>
    </dgm:pt>
    <dgm:pt modelId="{94094496-CD74-49E7-9204-1D06E1C79AB1}" type="pres">
      <dgm:prSet presAssocID="{5325EEEE-6047-48FA-8DE8-5F12E389777E}" presName="sibTrans" presStyleLbl="sibTrans2D1" presStyleIdx="0" presStyleCnt="2"/>
      <dgm:spPr/>
    </dgm:pt>
    <dgm:pt modelId="{1359540E-E217-4119-B62C-3D8DA9683BCA}" type="pres">
      <dgm:prSet presAssocID="{5325EEEE-6047-48FA-8DE8-5F12E389777E}" presName="spacerR" presStyleCnt="0"/>
      <dgm:spPr/>
    </dgm:pt>
    <dgm:pt modelId="{A2137657-543B-4139-8965-E0497575C433}" type="pres">
      <dgm:prSet presAssocID="{1CCECC4C-A0A3-4F32-B8C6-46FF1788DBE8}" presName="node" presStyleLbl="node1" presStyleIdx="1" presStyleCnt="3" custLinFactNeighborY="-4618">
        <dgm:presLayoutVars>
          <dgm:bulletEnabled val="1"/>
        </dgm:presLayoutVars>
      </dgm:prSet>
      <dgm:spPr/>
    </dgm:pt>
    <dgm:pt modelId="{EE713795-B8BE-44A3-A96E-290AA7529702}" type="pres">
      <dgm:prSet presAssocID="{A3D59772-CD50-4054-9E82-7E0E3DC51322}" presName="spacerL" presStyleCnt="0"/>
      <dgm:spPr/>
    </dgm:pt>
    <dgm:pt modelId="{B4F58B13-6EA7-4254-8F19-DEAE52C80238}" type="pres">
      <dgm:prSet presAssocID="{A3D59772-CD50-4054-9E82-7E0E3DC51322}" presName="sibTrans" presStyleLbl="sibTrans2D1" presStyleIdx="1" presStyleCnt="2"/>
      <dgm:spPr/>
    </dgm:pt>
    <dgm:pt modelId="{F21D0847-5391-4DD3-9074-1727FC34F98F}" type="pres">
      <dgm:prSet presAssocID="{A3D59772-CD50-4054-9E82-7E0E3DC51322}" presName="spacerR" presStyleCnt="0"/>
      <dgm:spPr/>
    </dgm:pt>
    <dgm:pt modelId="{99967516-C5BE-41C1-86A7-89D87C2EA58A}" type="pres">
      <dgm:prSet presAssocID="{B3121CEA-96E5-4585-919D-35E5C11C7F0E}" presName="node" presStyleLbl="node1" presStyleIdx="2" presStyleCnt="3" custScaleX="104712">
        <dgm:presLayoutVars>
          <dgm:bulletEnabled val="1"/>
        </dgm:presLayoutVars>
      </dgm:prSet>
      <dgm:spPr/>
    </dgm:pt>
  </dgm:ptLst>
  <dgm:cxnLst>
    <dgm:cxn modelId="{DEACE567-47B7-49A8-B4DD-393DDD0BB799}" srcId="{9BBDB9ED-85EA-4BFF-8E2B-C328B0C4B098}" destId="{76299FB4-520D-4327-BA80-E82397FC34BB}" srcOrd="0" destOrd="0" parTransId="{AFF1163C-6F14-4706-8237-E407DF4EF3D4}" sibTransId="{5325EEEE-6047-48FA-8DE8-5F12E389777E}"/>
    <dgm:cxn modelId="{16ABF449-778F-494A-B8C8-4B7CBE86FECC}" type="presOf" srcId="{76299FB4-520D-4327-BA80-E82397FC34BB}" destId="{DFD0DBF3-844F-48DD-B5A6-9F807548FE5D}" srcOrd="0" destOrd="0" presId="urn:microsoft.com/office/officeart/2005/8/layout/equation1"/>
    <dgm:cxn modelId="{C8D7504E-9C7A-48F2-9FE3-030AA03E2CCE}" type="presOf" srcId="{5325EEEE-6047-48FA-8DE8-5F12E389777E}" destId="{94094496-CD74-49E7-9204-1D06E1C79AB1}" srcOrd="0" destOrd="0" presId="urn:microsoft.com/office/officeart/2005/8/layout/equation1"/>
    <dgm:cxn modelId="{A6413653-04FE-44CF-B8ED-4E3C3BD717DD}" srcId="{9BBDB9ED-85EA-4BFF-8E2B-C328B0C4B098}" destId="{B3121CEA-96E5-4585-919D-35E5C11C7F0E}" srcOrd="2" destOrd="0" parTransId="{BEB8E10E-FC72-43F9-95E5-8821A2CD4BE8}" sibTransId="{14D50352-A4BE-4D39-B5A0-F96D010F5B42}"/>
    <dgm:cxn modelId="{131F6554-25F7-44FF-AF38-CE816D2A5604}" type="presOf" srcId="{A3D59772-CD50-4054-9E82-7E0E3DC51322}" destId="{B4F58B13-6EA7-4254-8F19-DEAE52C80238}" srcOrd="0" destOrd="0" presId="urn:microsoft.com/office/officeart/2005/8/layout/equation1"/>
    <dgm:cxn modelId="{7CEFFA89-5E39-4540-8B28-5B0C2EC427B9}" type="presOf" srcId="{9BBDB9ED-85EA-4BFF-8E2B-C328B0C4B098}" destId="{4DE10F1E-FC39-4595-AF85-2B346868C3D3}" srcOrd="0" destOrd="0" presId="urn:microsoft.com/office/officeart/2005/8/layout/equation1"/>
    <dgm:cxn modelId="{4DDF2F93-8C32-4115-A0AB-474CDC0C02B7}" type="presOf" srcId="{B3121CEA-96E5-4585-919D-35E5C11C7F0E}" destId="{99967516-C5BE-41C1-86A7-89D87C2EA58A}" srcOrd="0" destOrd="0" presId="urn:microsoft.com/office/officeart/2005/8/layout/equation1"/>
    <dgm:cxn modelId="{9979A1C5-694C-4B06-B273-DDA4566F3548}" srcId="{9BBDB9ED-85EA-4BFF-8E2B-C328B0C4B098}" destId="{1CCECC4C-A0A3-4F32-B8C6-46FF1788DBE8}" srcOrd="1" destOrd="0" parTransId="{CE7732E6-AAFE-41F4-A297-32AAEF4D1C29}" sibTransId="{A3D59772-CD50-4054-9E82-7E0E3DC51322}"/>
    <dgm:cxn modelId="{51E3C0C5-C0B3-461E-BBAE-1EFC59D0C1F6}" type="presOf" srcId="{1CCECC4C-A0A3-4F32-B8C6-46FF1788DBE8}" destId="{A2137657-543B-4139-8965-E0497575C433}" srcOrd="0" destOrd="0" presId="urn:microsoft.com/office/officeart/2005/8/layout/equation1"/>
    <dgm:cxn modelId="{443E1AE3-0B2A-4931-9827-1E3CD3E6B26E}" type="presParOf" srcId="{4DE10F1E-FC39-4595-AF85-2B346868C3D3}" destId="{DFD0DBF3-844F-48DD-B5A6-9F807548FE5D}" srcOrd="0" destOrd="0" presId="urn:microsoft.com/office/officeart/2005/8/layout/equation1"/>
    <dgm:cxn modelId="{1EFF4490-783F-4822-9771-9E7E2BE96596}" type="presParOf" srcId="{4DE10F1E-FC39-4595-AF85-2B346868C3D3}" destId="{DB3C0644-CE1B-400E-8F00-707955E95FA4}" srcOrd="1" destOrd="0" presId="urn:microsoft.com/office/officeart/2005/8/layout/equation1"/>
    <dgm:cxn modelId="{05058BF2-B6FB-41A0-BFB4-EE92382F3AB1}" type="presParOf" srcId="{4DE10F1E-FC39-4595-AF85-2B346868C3D3}" destId="{94094496-CD74-49E7-9204-1D06E1C79AB1}" srcOrd="2" destOrd="0" presId="urn:microsoft.com/office/officeart/2005/8/layout/equation1"/>
    <dgm:cxn modelId="{AC7CDBDF-25DA-4559-99C4-3F2FFD540752}" type="presParOf" srcId="{4DE10F1E-FC39-4595-AF85-2B346868C3D3}" destId="{1359540E-E217-4119-B62C-3D8DA9683BCA}" srcOrd="3" destOrd="0" presId="urn:microsoft.com/office/officeart/2005/8/layout/equation1"/>
    <dgm:cxn modelId="{DEA6CA44-1947-4842-9506-AAA34A783C3E}" type="presParOf" srcId="{4DE10F1E-FC39-4595-AF85-2B346868C3D3}" destId="{A2137657-543B-4139-8965-E0497575C433}" srcOrd="4" destOrd="0" presId="urn:microsoft.com/office/officeart/2005/8/layout/equation1"/>
    <dgm:cxn modelId="{EBA37220-F1C8-44E9-B097-5A6B2D8A012B}" type="presParOf" srcId="{4DE10F1E-FC39-4595-AF85-2B346868C3D3}" destId="{EE713795-B8BE-44A3-A96E-290AA7529702}" srcOrd="5" destOrd="0" presId="urn:microsoft.com/office/officeart/2005/8/layout/equation1"/>
    <dgm:cxn modelId="{9E54E1C9-E931-4863-B4FE-C148B7E565FF}" type="presParOf" srcId="{4DE10F1E-FC39-4595-AF85-2B346868C3D3}" destId="{B4F58B13-6EA7-4254-8F19-DEAE52C80238}" srcOrd="6" destOrd="0" presId="urn:microsoft.com/office/officeart/2005/8/layout/equation1"/>
    <dgm:cxn modelId="{5B4A8CBB-EC7D-401E-B183-20A36810471A}" type="presParOf" srcId="{4DE10F1E-FC39-4595-AF85-2B346868C3D3}" destId="{F21D0847-5391-4DD3-9074-1727FC34F98F}" srcOrd="7" destOrd="0" presId="urn:microsoft.com/office/officeart/2005/8/layout/equation1"/>
    <dgm:cxn modelId="{CDBAE645-4DDC-4008-B608-1FABC3172DBD}" type="presParOf" srcId="{4DE10F1E-FC39-4595-AF85-2B346868C3D3}" destId="{99967516-C5BE-41C1-86A7-89D87C2EA58A}" srcOrd="8" destOrd="0" presId="urn:microsoft.com/office/officeart/2005/8/layout/equation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Group 1"/>
      <dsp:cNvGrpSpPr/>
    </dsp:nvGrpSpPr>
    <dsp:grpSpPr>
      <a:xfrm>
        <a:off x="0" y="0"/>
        <a:ext cx="3779265" cy="4038899"/>
        <a:chOff x="0" y="0"/>
        <a:chExt cx="3779265" cy="4038899"/>
      </a:xfrm>
    </dsp:grpSpPr>
    <dsp:sp modelId="{676942FA-DB2A-4DE6-B1A7-2C4F33875B04}">
      <dsp:nvSpPr>
        <dsp:cNvPr id="3" name="Rectangles 2"/>
        <dsp:cNvSpPr/>
      </dsp:nvSpPr>
      <dsp:spPr bwMode="white">
        <a:xfrm>
          <a:off x="629878" y="995308"/>
          <a:ext cx="1181020" cy="787741"/>
        </a:xfrm>
        <a:prstGeom prst="rect">
          <a:avLst/>
        </a:prstGeom>
        <a:solidFill>
          <a:schemeClr val="bg1">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64008" rIns="64008" bIns="64008" anchor="ctr"/>
        <a:lstStyle>
          <a:lvl1pPr algn="l">
            <a:defRPr sz="6500"/>
          </a:lvl1pPr>
          <a:lvl2pPr marL="285750" indent="-285750" algn="l">
            <a:defRPr sz="5000"/>
          </a:lvl2pPr>
          <a:lvl3pPr marL="571500" indent="-285750" algn="l">
            <a:defRPr sz="5000"/>
          </a:lvl3pPr>
          <a:lvl4pPr marL="857250" indent="-285750" algn="l">
            <a:defRPr sz="5000"/>
          </a:lvl4pPr>
          <a:lvl5pPr marL="1143000" indent="-285750" algn="l">
            <a:defRPr sz="5000"/>
          </a:lvl5pPr>
          <a:lvl6pPr marL="1428750" indent="-285750" algn="l">
            <a:defRPr sz="5000"/>
          </a:lvl6pPr>
          <a:lvl7pPr marL="1714500" indent="-285750" algn="l">
            <a:defRPr sz="5000"/>
          </a:lvl7pPr>
          <a:lvl8pPr marL="2000250" indent="-285750" algn="l">
            <a:defRPr sz="5000"/>
          </a:lvl8pPr>
          <a:lvl9pPr marL="2286000" indent="-285750" algn="l">
            <a:defRPr sz="5000"/>
          </a:lvl9pPr>
        </a:lstStyle>
        <a:p>
          <a:pPr marL="0" marR="0" lvl="0" indent="0" algn="ctr" defTabSz="914400" eaLnBrk="1" fontAlgn="auto" latinLnBrk="0" hangingPunct="1">
            <a:lnSpc>
              <a:spcPct val="100000"/>
            </a:lnSpc>
            <a:spcBef>
              <a:spcPts val="0"/>
            </a:spcBef>
            <a:spcAft>
              <a:spcPts val="0"/>
            </a:spcAft>
            <a:buClrTx/>
            <a:buSzTx/>
            <a:buFontTx/>
            <a:buNone/>
          </a:pPr>
          <a:r>
            <a:rPr lang="en-US" sz="900" dirty="0">
              <a:solidFill>
                <a:schemeClr val="dk1"/>
              </a:solidFill>
            </a:rPr>
            <a:t>Risk Adjusted Returns, Efficient Frontier</a:t>
          </a:r>
          <a:endParaRPr>
            <a:solidFill>
              <a:schemeClr val="dk1"/>
            </a:solidFill>
          </a:endParaRPr>
        </a:p>
      </dsp:txBody>
      <dsp:txXfrm>
        <a:off x="629878" y="995308"/>
        <a:ext cx="1181020" cy="787741"/>
      </dsp:txXfrm>
    </dsp:sp>
    <dsp:sp modelId="{BB06E5AE-F59D-4E03-A17E-35530D11C49F}">
      <dsp:nvSpPr>
        <dsp:cNvPr id="4" name="Rectangles 3"/>
        <dsp:cNvSpPr/>
      </dsp:nvSpPr>
      <dsp:spPr bwMode="white">
        <a:xfrm>
          <a:off x="629878" y="1783049"/>
          <a:ext cx="1181020" cy="787741"/>
        </a:xfrm>
        <a:prstGeom prst="rect">
          <a:avLst/>
        </a:prstGeom>
        <a:solidFill>
          <a:schemeClr val="bg1">
            <a:lumMod val="95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64008" rIns="64008" bIns="64008" anchor="ctr"/>
        <a:lstStyle>
          <a:lvl1pPr algn="l">
            <a:defRPr sz="6500"/>
          </a:lvl1pPr>
          <a:lvl2pPr marL="285750" indent="-285750" algn="l">
            <a:defRPr sz="5000"/>
          </a:lvl2pPr>
          <a:lvl3pPr marL="571500" indent="-285750" algn="l">
            <a:defRPr sz="5000"/>
          </a:lvl3pPr>
          <a:lvl4pPr marL="857250" indent="-285750" algn="l">
            <a:defRPr sz="5000"/>
          </a:lvl4pPr>
          <a:lvl5pPr marL="1143000" indent="-285750" algn="l">
            <a:defRPr sz="5000"/>
          </a:lvl5pPr>
          <a:lvl6pPr marL="1428750" indent="-285750" algn="l">
            <a:defRPr sz="5000"/>
          </a:lvl6pPr>
          <a:lvl7pPr marL="1714500" indent="-285750" algn="l">
            <a:defRPr sz="5000"/>
          </a:lvl7pPr>
          <a:lvl8pPr marL="2000250" indent="-285750" algn="l">
            <a:defRPr sz="5000"/>
          </a:lvl8pPr>
          <a:lvl9pPr marL="2286000" indent="-285750" algn="l">
            <a:defRPr sz="5000"/>
          </a:lvl9pPr>
        </a:lstStyle>
        <a:p>
          <a:pPr lvl="0" algn="ctr">
            <a:lnSpc>
              <a:spcPct val="100000"/>
            </a:lnSpc>
            <a:spcBef>
              <a:spcPct val="0"/>
            </a:spcBef>
            <a:spcAft>
              <a:spcPct val="35000"/>
            </a:spcAft>
          </a:pPr>
          <a:r>
            <a:rPr lang="en-US" sz="900" b="1" dirty="0">
              <a:solidFill>
                <a:schemeClr val="tx1"/>
              </a:solidFill>
            </a:rPr>
            <a:t>Strategic &amp; Tactical Allocation</a:t>
          </a:r>
          <a:endParaRPr>
            <a:solidFill>
              <a:schemeClr val="dk1"/>
            </a:solidFill>
          </a:endParaRPr>
        </a:p>
      </dsp:txBody>
      <dsp:txXfrm>
        <a:off x="629878" y="1783049"/>
        <a:ext cx="1181020" cy="787741"/>
      </dsp:txXfrm>
    </dsp:sp>
    <dsp:sp modelId="{5F6F0EEC-FE4B-4A9D-9369-A703EFCFD1AC}">
      <dsp:nvSpPr>
        <dsp:cNvPr id="5" name="Rectangles 4"/>
        <dsp:cNvSpPr/>
      </dsp:nvSpPr>
      <dsp:spPr bwMode="white">
        <a:xfrm>
          <a:off x="629878" y="2570789"/>
          <a:ext cx="1181020" cy="787741"/>
        </a:xfrm>
        <a:prstGeom prst="rect">
          <a:avLst/>
        </a:prstGeom>
        <a:solidFill>
          <a:schemeClr val="bg1">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64008" rIns="64008" bIns="64008" anchor="ctr"/>
        <a:lstStyle>
          <a:lvl1pPr algn="l">
            <a:defRPr sz="6500"/>
          </a:lvl1pPr>
          <a:lvl2pPr marL="285750" indent="-285750" algn="l">
            <a:defRPr sz="5000"/>
          </a:lvl2pPr>
          <a:lvl3pPr marL="571500" indent="-285750" algn="l">
            <a:defRPr sz="5000"/>
          </a:lvl3pPr>
          <a:lvl4pPr marL="857250" indent="-285750" algn="l">
            <a:defRPr sz="5000"/>
          </a:lvl4pPr>
          <a:lvl5pPr marL="1143000" indent="-285750" algn="l">
            <a:defRPr sz="5000"/>
          </a:lvl5pPr>
          <a:lvl6pPr marL="1428750" indent="-285750" algn="l">
            <a:defRPr sz="5000"/>
          </a:lvl6pPr>
          <a:lvl7pPr marL="1714500" indent="-285750" algn="l">
            <a:defRPr sz="5000"/>
          </a:lvl7pPr>
          <a:lvl8pPr marL="2000250" indent="-285750" algn="l">
            <a:defRPr sz="5000"/>
          </a:lvl8pPr>
          <a:lvl9pPr marL="2286000" indent="-285750" algn="l">
            <a:defRPr sz="5000"/>
          </a:lvl9pPr>
        </a:lstStyle>
        <a:p>
          <a:pPr lvl="0" algn="ctr">
            <a:lnSpc>
              <a:spcPct val="100000"/>
            </a:lnSpc>
            <a:spcBef>
              <a:spcPct val="0"/>
            </a:spcBef>
            <a:spcAft>
              <a:spcPct val="35000"/>
            </a:spcAft>
          </a:pPr>
          <a:r>
            <a:rPr lang="en-US" sz="900" dirty="0">
              <a:solidFill>
                <a:schemeClr val="dk1"/>
              </a:solidFill>
            </a:rPr>
            <a:t>CA Multi-factor Model &amp; Grid Based Assessment</a:t>
          </a:r>
          <a:endParaRPr>
            <a:solidFill>
              <a:schemeClr val="dk1"/>
            </a:solidFill>
          </a:endParaRPr>
        </a:p>
      </dsp:txBody>
      <dsp:txXfrm>
        <a:off x="629878" y="2570789"/>
        <a:ext cx="1181020" cy="787741"/>
      </dsp:txXfrm>
    </dsp:sp>
    <dsp:sp modelId="{6A0AB1BF-176D-4912-A558-069CD2444DE2}">
      <dsp:nvSpPr>
        <dsp:cNvPr id="6" name="Oval 5"/>
        <dsp:cNvSpPr/>
      </dsp:nvSpPr>
      <dsp:spPr bwMode="white">
        <a:xfrm>
          <a:off x="0" y="680369"/>
          <a:ext cx="787347" cy="787347"/>
        </a:xfrm>
        <a:prstGeom prst="ellipse">
          <a:avLst/>
        </a:prstGeom>
      </dsp:spPr>
      <dsp:style>
        <a:lnRef idx="2">
          <a:schemeClr val="lt1"/>
        </a:lnRef>
        <a:fillRef idx="1">
          <a:schemeClr val="accent1"/>
        </a:fillRef>
        <a:effectRef idx="0">
          <a:scrgbClr r="0" g="0" b="0"/>
        </a:effectRef>
        <a:fontRef idx="minor">
          <a:schemeClr val="lt1"/>
        </a:fontRef>
      </dsp:style>
      <dsp:txBody>
        <a:bodyPr lIns="0" tIns="0" rIns="0" bIns="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sz="900" dirty="0"/>
            <a:t>Asset Allocation*</a:t>
          </a:r>
        </a:p>
      </dsp:txBody>
      <dsp:txXfrm>
        <a:off x="0" y="680369"/>
        <a:ext cx="787347" cy="787347"/>
      </dsp:txXfrm>
    </dsp:sp>
    <dsp:sp modelId="{1A05FC16-C614-4C98-8888-4C13A883B7A8}">
      <dsp:nvSpPr>
        <dsp:cNvPr id="7" name="Rectangles 6"/>
        <dsp:cNvSpPr/>
      </dsp:nvSpPr>
      <dsp:spPr bwMode="white">
        <a:xfrm>
          <a:off x="2598245" y="995308"/>
          <a:ext cx="1181020" cy="787741"/>
        </a:xfrm>
        <a:prstGeom prst="rect">
          <a:avLst/>
        </a:prstGeom>
        <a:solidFill>
          <a:schemeClr val="bg1"/>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64008" rIns="64008" bIns="64008" anchor="ctr"/>
        <a:lstStyle>
          <a:lvl1pPr algn="l">
            <a:defRPr sz="6500"/>
          </a:lvl1pPr>
          <a:lvl2pPr marL="285750" indent="-285750" algn="l">
            <a:defRPr sz="5000"/>
          </a:lvl2pPr>
          <a:lvl3pPr marL="571500" indent="-285750" algn="l">
            <a:defRPr sz="5000"/>
          </a:lvl3pPr>
          <a:lvl4pPr marL="857250" indent="-285750" algn="l">
            <a:defRPr sz="5000"/>
          </a:lvl4pPr>
          <a:lvl5pPr marL="1143000" indent="-285750" algn="l">
            <a:defRPr sz="5000"/>
          </a:lvl5pPr>
          <a:lvl6pPr marL="1428750" indent="-285750" algn="l">
            <a:defRPr sz="5000"/>
          </a:lvl6pPr>
          <a:lvl7pPr marL="1714500" indent="-285750" algn="l">
            <a:defRPr sz="5000"/>
          </a:lvl7pPr>
          <a:lvl8pPr marL="2000250" indent="-285750" algn="l">
            <a:defRPr sz="5000"/>
          </a:lvl8pPr>
          <a:lvl9pPr marL="2286000" indent="-285750" algn="l">
            <a:defRPr sz="5000"/>
          </a:lvl9pPr>
        </a:lstStyle>
        <a:p>
          <a:pPr lvl="0" algn="ctr">
            <a:lnSpc>
              <a:spcPct val="100000"/>
            </a:lnSpc>
            <a:spcBef>
              <a:spcPct val="0"/>
            </a:spcBef>
            <a:spcAft>
              <a:spcPct val="35000"/>
            </a:spcAft>
          </a:pPr>
          <a:r>
            <a:rPr lang="en-US" sz="900" dirty="0">
              <a:solidFill>
                <a:schemeClr val="dk1"/>
              </a:solidFill>
            </a:rPr>
            <a:t>Allocation to Large/Mid/Small</a:t>
          </a:r>
          <a:endParaRPr>
            <a:solidFill>
              <a:schemeClr val="dk1"/>
            </a:solidFill>
          </a:endParaRPr>
        </a:p>
      </dsp:txBody>
      <dsp:txXfrm>
        <a:off x="2598245" y="995308"/>
        <a:ext cx="1181020" cy="787741"/>
      </dsp:txXfrm>
    </dsp:sp>
    <dsp:sp modelId="{061FA7CE-D25C-4FFB-9C08-8F149D438A4E}">
      <dsp:nvSpPr>
        <dsp:cNvPr id="8" name="Rectangles 7"/>
        <dsp:cNvSpPr/>
      </dsp:nvSpPr>
      <dsp:spPr bwMode="white">
        <a:xfrm>
          <a:off x="2598245" y="1783049"/>
          <a:ext cx="1181020" cy="787741"/>
        </a:xfrm>
        <a:prstGeom prst="rect">
          <a:avLst/>
        </a:prstGeom>
        <a:solidFill>
          <a:schemeClr val="bg1">
            <a:lumMod val="95000"/>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64008" rIns="64008" bIns="64008" anchor="ctr"/>
        <a:lstStyle>
          <a:lvl1pPr algn="l">
            <a:defRPr sz="6500"/>
          </a:lvl1pPr>
          <a:lvl2pPr marL="285750" indent="-285750" algn="l">
            <a:defRPr sz="5000"/>
          </a:lvl2pPr>
          <a:lvl3pPr marL="571500" indent="-285750" algn="l">
            <a:defRPr sz="5000"/>
          </a:lvl3pPr>
          <a:lvl4pPr marL="857250" indent="-285750" algn="l">
            <a:defRPr sz="5000"/>
          </a:lvl4pPr>
          <a:lvl5pPr marL="1143000" indent="-285750" algn="l">
            <a:defRPr sz="5000"/>
          </a:lvl5pPr>
          <a:lvl6pPr marL="1428750" indent="-285750" algn="l">
            <a:defRPr sz="5000"/>
          </a:lvl6pPr>
          <a:lvl7pPr marL="1714500" indent="-285750" algn="l">
            <a:defRPr sz="5000"/>
          </a:lvl7pPr>
          <a:lvl8pPr marL="2000250" indent="-285750" algn="l">
            <a:defRPr sz="5000"/>
          </a:lvl8pPr>
          <a:lvl9pPr marL="2286000" indent="-285750" algn="l">
            <a:defRPr sz="5000"/>
          </a:lvl9pPr>
        </a:lstStyle>
        <a:p>
          <a:pPr lvl="0" algn="ctr">
            <a:lnSpc>
              <a:spcPct val="100000"/>
            </a:lnSpc>
            <a:spcBef>
              <a:spcPct val="0"/>
            </a:spcBef>
            <a:spcAft>
              <a:spcPct val="35000"/>
            </a:spcAft>
          </a:pPr>
          <a:r>
            <a:rPr lang="en-US" sz="900" b="1" dirty="0">
              <a:solidFill>
                <a:schemeClr val="tx1"/>
              </a:solidFill>
            </a:rPr>
            <a:t>Beta Management</a:t>
          </a:r>
          <a:endParaRPr>
            <a:solidFill>
              <a:schemeClr val="dk1"/>
            </a:solidFill>
          </a:endParaRPr>
        </a:p>
      </dsp:txBody>
      <dsp:txXfrm>
        <a:off x="2598245" y="1783049"/>
        <a:ext cx="1181020" cy="787741"/>
      </dsp:txXfrm>
    </dsp:sp>
    <dsp:sp modelId="{7B0C2434-EE96-42FE-A4BE-A4511F2BC7AC}">
      <dsp:nvSpPr>
        <dsp:cNvPr id="9" name="Rectangles 8"/>
        <dsp:cNvSpPr/>
      </dsp:nvSpPr>
      <dsp:spPr bwMode="white">
        <a:xfrm>
          <a:off x="2598245" y="2570789"/>
          <a:ext cx="1181020" cy="787741"/>
        </a:xfrm>
        <a:prstGeom prst="rect">
          <a:avLst/>
        </a:prstGeom>
        <a:solidFill>
          <a:schemeClr val="bg1">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64008" rIns="64008" bIns="64008" anchor="ctr"/>
        <a:lstStyle>
          <a:lvl1pPr algn="l">
            <a:defRPr sz="6500"/>
          </a:lvl1pPr>
          <a:lvl2pPr marL="285750" indent="-285750" algn="l">
            <a:defRPr sz="5000"/>
          </a:lvl2pPr>
          <a:lvl3pPr marL="571500" indent="-285750" algn="l">
            <a:defRPr sz="5000"/>
          </a:lvl3pPr>
          <a:lvl4pPr marL="857250" indent="-285750" algn="l">
            <a:defRPr sz="5000"/>
          </a:lvl4pPr>
          <a:lvl5pPr marL="1143000" indent="-285750" algn="l">
            <a:defRPr sz="5000"/>
          </a:lvl5pPr>
          <a:lvl6pPr marL="1428750" indent="-285750" algn="l">
            <a:defRPr sz="5000"/>
          </a:lvl6pPr>
          <a:lvl7pPr marL="1714500" indent="-285750" algn="l">
            <a:defRPr sz="5000"/>
          </a:lvl7pPr>
          <a:lvl8pPr marL="2000250" indent="-285750" algn="l">
            <a:defRPr sz="5000"/>
          </a:lvl8pPr>
          <a:lvl9pPr marL="2286000" indent="-285750" algn="l">
            <a:defRPr sz="5000"/>
          </a:lvl9pPr>
        </a:lstStyle>
        <a:p>
          <a:pPr lvl="0" algn="ctr">
            <a:lnSpc>
              <a:spcPct val="100000"/>
            </a:lnSpc>
            <a:spcBef>
              <a:spcPct val="0"/>
            </a:spcBef>
            <a:spcAft>
              <a:spcPct val="35000"/>
            </a:spcAft>
          </a:pPr>
          <a:r>
            <a:rPr lang="en-US" sz="900" dirty="0">
              <a:solidFill>
                <a:schemeClr val="dk1"/>
              </a:solidFill>
            </a:rPr>
            <a:t>Valuation Differentials, Stance on Markets, and Econometric Model </a:t>
          </a:r>
          <a:endParaRPr>
            <a:solidFill>
              <a:schemeClr val="dk1"/>
            </a:solidFill>
          </a:endParaRPr>
        </a:p>
      </dsp:txBody>
      <dsp:txXfrm>
        <a:off x="2598245" y="2570789"/>
        <a:ext cx="1181020" cy="787741"/>
      </dsp:txXfrm>
    </dsp:sp>
    <dsp:sp modelId="{AF76CFD8-02C8-4441-8215-EE5E775F4874}">
      <dsp:nvSpPr>
        <dsp:cNvPr id="10" name="Oval 9"/>
        <dsp:cNvSpPr/>
      </dsp:nvSpPr>
      <dsp:spPr bwMode="white">
        <a:xfrm>
          <a:off x="1968367" y="680369"/>
          <a:ext cx="787347" cy="787347"/>
        </a:xfrm>
        <a:prstGeom prst="ellipse">
          <a:avLst/>
        </a:prstGeom>
      </dsp:spPr>
      <dsp:style>
        <a:lnRef idx="2">
          <a:schemeClr val="lt1"/>
        </a:lnRef>
        <a:fillRef idx="1">
          <a:schemeClr val="accent1"/>
        </a:fillRef>
        <a:effectRef idx="0">
          <a:scrgbClr r="0" g="0" b="0"/>
        </a:effectRef>
        <a:fontRef idx="minor">
          <a:schemeClr val="lt1"/>
        </a:fontRef>
      </dsp:style>
      <dsp:txBody>
        <a:bodyPr lIns="0" tIns="0" rIns="0" bIns="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sz="900" dirty="0"/>
            <a:t>Category Allocation</a:t>
          </a:r>
        </a:p>
      </dsp:txBody>
      <dsp:txXfrm>
        <a:off x="1968367" y="680369"/>
        <a:ext cx="787347" cy="787347"/>
      </dsp:txXfrm>
    </dsp:sp>
  </dsp:spTree>
</dsp:drawing>
</file>

<file path=ppt/diagrams/drawing2.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Group 1"/>
      <dsp:cNvGrpSpPr/>
    </dsp:nvGrpSpPr>
    <dsp:grpSpPr>
      <a:xfrm>
        <a:off x="0" y="0"/>
        <a:ext cx="3672510" cy="4275921"/>
        <a:chOff x="0" y="0"/>
        <a:chExt cx="3672510" cy="4275921"/>
      </a:xfrm>
    </dsp:grpSpPr>
    <dsp:sp modelId="{676942FA-DB2A-4DE6-B1A7-2C4F33875B04}">
      <dsp:nvSpPr>
        <dsp:cNvPr id="3" name="Rectangles 2"/>
        <dsp:cNvSpPr/>
      </dsp:nvSpPr>
      <dsp:spPr bwMode="white">
        <a:xfrm>
          <a:off x="612085" y="1142749"/>
          <a:ext cx="1147659" cy="765489"/>
        </a:xfrm>
        <a:prstGeom prst="rect">
          <a:avLst/>
        </a:prstGeom>
        <a:solidFill>
          <a:schemeClr val="bg1">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49784" rIns="49784" bIns="49784" anchor="ctr"/>
        <a:lstStyle>
          <a:lvl1pPr algn="l">
            <a:defRPr sz="700"/>
          </a:lvl1pPr>
          <a:lvl2pPr marL="57150" indent="-57150" algn="l">
            <a:defRPr sz="500"/>
          </a:lvl2pPr>
          <a:lvl3pPr marL="114300" indent="-57150" algn="l">
            <a:defRPr sz="500"/>
          </a:lvl3pPr>
          <a:lvl4pPr marL="171450" indent="-57150" algn="l">
            <a:defRPr sz="500"/>
          </a:lvl4pPr>
          <a:lvl5pPr marL="228600" indent="-57150" algn="l">
            <a:defRPr sz="500"/>
          </a:lvl5pPr>
          <a:lvl6pPr marL="285750" indent="-57150" algn="l">
            <a:defRPr sz="500"/>
          </a:lvl6pPr>
          <a:lvl7pPr marL="342900" indent="-57150" algn="l">
            <a:defRPr sz="500"/>
          </a:lvl7pPr>
          <a:lvl8pPr marL="400050" indent="-57150" algn="l">
            <a:defRPr sz="500"/>
          </a:lvl8pPr>
          <a:lvl9pPr marL="457200" indent="-57150" algn="l">
            <a:defRPr sz="500"/>
          </a:lvl9pPr>
        </a:lstStyle>
        <a:p>
          <a:pPr lvl="0" algn="ctr">
            <a:lnSpc>
              <a:spcPct val="100000"/>
            </a:lnSpc>
            <a:spcBef>
              <a:spcPct val="0"/>
            </a:spcBef>
            <a:spcAft>
              <a:spcPct val="35000"/>
            </a:spcAft>
          </a:pPr>
          <a:r>
            <a:rPr lang="en-US" dirty="0">
              <a:solidFill>
                <a:schemeClr val="dk1"/>
              </a:solidFill>
            </a:rPr>
            <a:t>Allocation to Growth, Value and GARP*</a:t>
          </a:r>
          <a:endParaRPr>
            <a:solidFill>
              <a:schemeClr val="dk1"/>
            </a:solidFill>
          </a:endParaRPr>
        </a:p>
      </dsp:txBody>
      <dsp:txXfrm>
        <a:off x="612085" y="1142749"/>
        <a:ext cx="1147659" cy="765489"/>
      </dsp:txXfrm>
    </dsp:sp>
    <dsp:sp modelId="{FC3D83FF-8FE1-411D-9168-38B0A3670960}">
      <dsp:nvSpPr>
        <dsp:cNvPr id="4" name="Rectangles 3"/>
        <dsp:cNvSpPr/>
      </dsp:nvSpPr>
      <dsp:spPr bwMode="white">
        <a:xfrm>
          <a:off x="612085" y="1908237"/>
          <a:ext cx="1147659" cy="765489"/>
        </a:xfrm>
        <a:prstGeom prst="rect">
          <a:avLst/>
        </a:prstGeom>
        <a:solidFill>
          <a:schemeClr val="bg1">
            <a:lumMod val="95000"/>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49784" rIns="49784" bIns="49784" anchor="ctr"/>
        <a:lstStyle>
          <a:lvl1pPr algn="l">
            <a:defRPr sz="700"/>
          </a:lvl1pPr>
          <a:lvl2pPr marL="57150" indent="-57150" algn="l">
            <a:defRPr sz="500"/>
          </a:lvl2pPr>
          <a:lvl3pPr marL="114300" indent="-57150" algn="l">
            <a:defRPr sz="500"/>
          </a:lvl3pPr>
          <a:lvl4pPr marL="171450" indent="-57150" algn="l">
            <a:defRPr sz="500"/>
          </a:lvl4pPr>
          <a:lvl5pPr marL="228600" indent="-57150" algn="l">
            <a:defRPr sz="500"/>
          </a:lvl5pPr>
          <a:lvl6pPr marL="285750" indent="-57150" algn="l">
            <a:defRPr sz="500"/>
          </a:lvl6pPr>
          <a:lvl7pPr marL="342900" indent="-57150" algn="l">
            <a:defRPr sz="500"/>
          </a:lvl7pPr>
          <a:lvl8pPr marL="400050" indent="-57150" algn="l">
            <a:defRPr sz="500"/>
          </a:lvl8pPr>
          <a:lvl9pPr marL="457200" indent="-57150" algn="l">
            <a:defRPr sz="500"/>
          </a:lvl9pPr>
        </a:lstStyle>
        <a:p>
          <a:pPr lvl="0" algn="ctr">
            <a:lnSpc>
              <a:spcPct val="100000"/>
            </a:lnSpc>
            <a:spcBef>
              <a:spcPct val="0"/>
            </a:spcBef>
            <a:spcAft>
              <a:spcPct val="35000"/>
            </a:spcAft>
          </a:pPr>
          <a:r>
            <a:rPr lang="en-US" b="1" dirty="0">
              <a:solidFill>
                <a:schemeClr val="tx1"/>
              </a:solidFill>
            </a:rPr>
            <a:t>Beta Management</a:t>
          </a:r>
          <a:endParaRPr>
            <a:solidFill>
              <a:schemeClr val="dk1"/>
            </a:solidFill>
          </a:endParaRPr>
        </a:p>
      </dsp:txBody>
      <dsp:txXfrm>
        <a:off x="612085" y="1908237"/>
        <a:ext cx="1147659" cy="765489"/>
      </dsp:txXfrm>
    </dsp:sp>
    <dsp:sp modelId="{E553CB4C-163A-4FF9-8246-9DE67CF92F1B}">
      <dsp:nvSpPr>
        <dsp:cNvPr id="5" name="Rectangles 4"/>
        <dsp:cNvSpPr/>
      </dsp:nvSpPr>
      <dsp:spPr bwMode="white">
        <a:xfrm>
          <a:off x="612085" y="2673726"/>
          <a:ext cx="1147659" cy="765489"/>
        </a:xfrm>
        <a:prstGeom prst="rect">
          <a:avLst/>
        </a:prstGeom>
        <a:solidFill>
          <a:schemeClr val="bg1">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49784" rIns="49784" bIns="49784" anchor="ctr"/>
        <a:lstStyle>
          <a:lvl1pPr algn="l">
            <a:defRPr sz="700"/>
          </a:lvl1pPr>
          <a:lvl2pPr marL="57150" indent="-57150" algn="l">
            <a:defRPr sz="500"/>
          </a:lvl2pPr>
          <a:lvl3pPr marL="114300" indent="-57150" algn="l">
            <a:defRPr sz="500"/>
          </a:lvl3pPr>
          <a:lvl4pPr marL="171450" indent="-57150" algn="l">
            <a:defRPr sz="500"/>
          </a:lvl4pPr>
          <a:lvl5pPr marL="228600" indent="-57150" algn="l">
            <a:defRPr sz="500"/>
          </a:lvl5pPr>
          <a:lvl6pPr marL="285750" indent="-57150" algn="l">
            <a:defRPr sz="500"/>
          </a:lvl6pPr>
          <a:lvl7pPr marL="342900" indent="-57150" algn="l">
            <a:defRPr sz="500"/>
          </a:lvl7pPr>
          <a:lvl8pPr marL="400050" indent="-57150" algn="l">
            <a:defRPr sz="500"/>
          </a:lvl8pPr>
          <a:lvl9pPr marL="457200" indent="-57150" algn="l">
            <a:defRPr sz="500"/>
          </a:lvl9pPr>
        </a:lstStyle>
        <a:p>
          <a:pPr lvl="0" algn="ctr">
            <a:lnSpc>
              <a:spcPct val="100000"/>
            </a:lnSpc>
            <a:spcBef>
              <a:spcPct val="0"/>
            </a:spcBef>
            <a:spcAft>
              <a:spcPct val="35000"/>
            </a:spcAft>
          </a:pPr>
          <a:r>
            <a:rPr lang="en-US" dirty="0">
              <a:solidFill>
                <a:schemeClr val="dk1"/>
              </a:solidFill>
            </a:rPr>
            <a:t>Valuation differentials, Stance on markets, and Econometric Model</a:t>
          </a:r>
          <a:endParaRPr>
            <a:solidFill>
              <a:schemeClr val="dk1"/>
            </a:solidFill>
          </a:endParaRPr>
        </a:p>
      </dsp:txBody>
      <dsp:txXfrm>
        <a:off x="612085" y="2673726"/>
        <a:ext cx="1147659" cy="765489"/>
      </dsp:txXfrm>
    </dsp:sp>
    <dsp:sp modelId="{6A0AB1BF-176D-4912-A558-069CD2444DE2}">
      <dsp:nvSpPr>
        <dsp:cNvPr id="6" name="Oval 5"/>
        <dsp:cNvSpPr/>
      </dsp:nvSpPr>
      <dsp:spPr bwMode="white">
        <a:xfrm>
          <a:off x="0" y="836706"/>
          <a:ext cx="765106" cy="765106"/>
        </a:xfrm>
        <a:prstGeom prst="ellipse">
          <a:avLst/>
        </a:prstGeom>
      </dsp:spPr>
      <dsp:style>
        <a:lnRef idx="2">
          <a:schemeClr val="lt1"/>
        </a:lnRef>
        <a:fillRef idx="1">
          <a:schemeClr val="accent1"/>
        </a:fillRef>
        <a:effectRef idx="0">
          <a:scrgbClr r="0" g="0" b="0"/>
        </a:effectRef>
        <a:fontRef idx="minor">
          <a:schemeClr val="lt1"/>
        </a:fontRef>
      </dsp:style>
      <dsp:txBody>
        <a:bodyPr lIns="0" tIns="0" rIns="0" bIns="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sz="900" dirty="0"/>
            <a:t>Style Allocation</a:t>
          </a:r>
        </a:p>
      </dsp:txBody>
      <dsp:txXfrm>
        <a:off x="0" y="836706"/>
        <a:ext cx="765106" cy="765106"/>
      </dsp:txXfrm>
    </dsp:sp>
    <dsp:sp modelId="{1A05FC16-C614-4C98-8888-4C13A883B7A8}">
      <dsp:nvSpPr>
        <dsp:cNvPr id="7" name="Rectangles 6"/>
        <dsp:cNvSpPr/>
      </dsp:nvSpPr>
      <dsp:spPr bwMode="white">
        <a:xfrm>
          <a:off x="2524851" y="1142749"/>
          <a:ext cx="1147659" cy="765489"/>
        </a:xfrm>
        <a:prstGeom prst="rect">
          <a:avLst/>
        </a:prstGeom>
        <a:solidFill>
          <a:schemeClr val="bg1">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49784" rIns="49784" bIns="49784" anchor="ctr"/>
        <a:lstStyle>
          <a:lvl1pPr algn="l">
            <a:defRPr sz="700"/>
          </a:lvl1pPr>
          <a:lvl2pPr marL="57150" indent="-57150" algn="l">
            <a:defRPr sz="500"/>
          </a:lvl2pPr>
          <a:lvl3pPr marL="114300" indent="-57150" algn="l">
            <a:defRPr sz="500"/>
          </a:lvl3pPr>
          <a:lvl4pPr marL="171450" indent="-57150" algn="l">
            <a:defRPr sz="500"/>
          </a:lvl4pPr>
          <a:lvl5pPr marL="228600" indent="-57150" algn="l">
            <a:defRPr sz="500"/>
          </a:lvl5pPr>
          <a:lvl6pPr marL="285750" indent="-57150" algn="l">
            <a:defRPr sz="500"/>
          </a:lvl6pPr>
          <a:lvl7pPr marL="342900" indent="-57150" algn="l">
            <a:defRPr sz="500"/>
          </a:lvl7pPr>
          <a:lvl8pPr marL="400050" indent="-57150" algn="l">
            <a:defRPr sz="500"/>
          </a:lvl8pPr>
          <a:lvl9pPr marL="457200" indent="-57150" algn="l">
            <a:defRPr sz="500"/>
          </a:lvl9pPr>
        </a:lstStyle>
        <a:p>
          <a:pPr lvl="0" algn="ctr">
            <a:lnSpc>
              <a:spcPct val="100000"/>
            </a:lnSpc>
            <a:spcBef>
              <a:spcPct val="0"/>
            </a:spcBef>
            <a:spcAft>
              <a:spcPct val="35000"/>
            </a:spcAft>
          </a:pPr>
          <a:r>
            <a:rPr lang="en-US" dirty="0">
              <a:solidFill>
                <a:schemeClr val="dk1"/>
              </a:solidFill>
            </a:rPr>
            <a:t>Quantitative Assessment</a:t>
          </a:r>
          <a:endParaRPr>
            <a:solidFill>
              <a:schemeClr val="dk1"/>
            </a:solidFill>
          </a:endParaRPr>
        </a:p>
      </dsp:txBody>
      <dsp:txXfrm>
        <a:off x="2524851" y="1142749"/>
        <a:ext cx="1147659" cy="765489"/>
      </dsp:txXfrm>
    </dsp:sp>
    <dsp:sp modelId="{E6611974-2A3C-4CFA-B90F-942E9C0FC135}">
      <dsp:nvSpPr>
        <dsp:cNvPr id="8" name="Rectangles 7"/>
        <dsp:cNvSpPr/>
      </dsp:nvSpPr>
      <dsp:spPr bwMode="white">
        <a:xfrm>
          <a:off x="2524851" y="1908237"/>
          <a:ext cx="1147659" cy="765489"/>
        </a:xfrm>
        <a:prstGeom prst="rect">
          <a:avLst/>
        </a:prstGeom>
        <a:solidFill>
          <a:schemeClr val="bg1">
            <a:lumMod val="95000"/>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49784" rIns="49784" bIns="49784" anchor="ctr"/>
        <a:lstStyle>
          <a:lvl1pPr algn="l">
            <a:defRPr sz="700"/>
          </a:lvl1pPr>
          <a:lvl2pPr marL="57150" indent="-57150" algn="l">
            <a:defRPr sz="500"/>
          </a:lvl2pPr>
          <a:lvl3pPr marL="114300" indent="-57150" algn="l">
            <a:defRPr sz="500"/>
          </a:lvl3pPr>
          <a:lvl4pPr marL="171450" indent="-57150" algn="l">
            <a:defRPr sz="500"/>
          </a:lvl4pPr>
          <a:lvl5pPr marL="228600" indent="-57150" algn="l">
            <a:defRPr sz="500"/>
          </a:lvl5pPr>
          <a:lvl6pPr marL="285750" indent="-57150" algn="l">
            <a:defRPr sz="500"/>
          </a:lvl6pPr>
          <a:lvl7pPr marL="342900" indent="-57150" algn="l">
            <a:defRPr sz="500"/>
          </a:lvl7pPr>
          <a:lvl8pPr marL="400050" indent="-57150" algn="l">
            <a:defRPr sz="500"/>
          </a:lvl8pPr>
          <a:lvl9pPr marL="457200" indent="-57150" algn="l">
            <a:defRPr sz="500"/>
          </a:lvl9pPr>
        </a:lstStyle>
        <a:p>
          <a:pPr lvl="0" algn="ctr">
            <a:lnSpc>
              <a:spcPct val="100000"/>
            </a:lnSpc>
            <a:spcBef>
              <a:spcPct val="0"/>
            </a:spcBef>
            <a:spcAft>
              <a:spcPct val="35000"/>
            </a:spcAft>
          </a:pPr>
          <a:r>
            <a:rPr lang="en-US" b="1" dirty="0">
              <a:solidFill>
                <a:schemeClr val="tx1"/>
              </a:solidFill>
            </a:rPr>
            <a:t>Qualitative Assessment</a:t>
          </a:r>
          <a:endParaRPr>
            <a:solidFill>
              <a:schemeClr val="dk1"/>
            </a:solidFill>
          </a:endParaRPr>
        </a:p>
      </dsp:txBody>
      <dsp:txXfrm>
        <a:off x="2524851" y="1908237"/>
        <a:ext cx="1147659" cy="765489"/>
      </dsp:txXfrm>
    </dsp:sp>
    <dsp:sp modelId="{7B0C2434-EE96-42FE-A4BE-A4511F2BC7AC}">
      <dsp:nvSpPr>
        <dsp:cNvPr id="9" name="Rectangles 8"/>
        <dsp:cNvSpPr/>
      </dsp:nvSpPr>
      <dsp:spPr bwMode="white">
        <a:xfrm>
          <a:off x="2524851" y="2673726"/>
          <a:ext cx="1147659" cy="765489"/>
        </a:xfrm>
        <a:prstGeom prst="rect">
          <a:avLst/>
        </a:prstGeom>
        <a:solidFill>
          <a:schemeClr val="bg1">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49784" rIns="49784" bIns="49784" anchor="ctr"/>
        <a:lstStyle>
          <a:lvl1pPr algn="l">
            <a:defRPr sz="700"/>
          </a:lvl1pPr>
          <a:lvl2pPr marL="57150" indent="-57150" algn="l">
            <a:defRPr sz="500"/>
          </a:lvl2pPr>
          <a:lvl3pPr marL="114300" indent="-57150" algn="l">
            <a:defRPr sz="500"/>
          </a:lvl3pPr>
          <a:lvl4pPr marL="171450" indent="-57150" algn="l">
            <a:defRPr sz="500"/>
          </a:lvl4pPr>
          <a:lvl5pPr marL="228600" indent="-57150" algn="l">
            <a:defRPr sz="500"/>
          </a:lvl5pPr>
          <a:lvl6pPr marL="285750" indent="-57150" algn="l">
            <a:defRPr sz="500"/>
          </a:lvl6pPr>
          <a:lvl7pPr marL="342900" indent="-57150" algn="l">
            <a:defRPr sz="500"/>
          </a:lvl7pPr>
          <a:lvl8pPr marL="400050" indent="-57150" algn="l">
            <a:defRPr sz="500"/>
          </a:lvl8pPr>
          <a:lvl9pPr marL="457200" indent="-57150" algn="l">
            <a:defRPr sz="500"/>
          </a:lvl9pPr>
        </a:lstStyle>
        <a:p>
          <a:pPr lvl="0" algn="ctr">
            <a:lnSpc>
              <a:spcPct val="100000"/>
            </a:lnSpc>
            <a:spcBef>
              <a:spcPct val="0"/>
            </a:spcBef>
            <a:spcAft>
              <a:spcPct val="35000"/>
            </a:spcAft>
          </a:pPr>
          <a:r>
            <a:rPr lang="en-US" dirty="0">
              <a:solidFill>
                <a:schemeClr val="dk1"/>
              </a:solidFill>
            </a:rPr>
            <a:t>Leading Vs Lagging Indicators</a:t>
          </a:r>
          <a:endParaRPr>
            <a:solidFill>
              <a:schemeClr val="dk1"/>
            </a:solidFill>
          </a:endParaRPr>
        </a:p>
      </dsp:txBody>
      <dsp:txXfrm>
        <a:off x="2524851" y="2673726"/>
        <a:ext cx="1147659" cy="765489"/>
      </dsp:txXfrm>
    </dsp:sp>
    <dsp:sp modelId="{AF76CFD8-02C8-4441-8215-EE5E775F4874}">
      <dsp:nvSpPr>
        <dsp:cNvPr id="10" name="Oval 9"/>
        <dsp:cNvSpPr/>
      </dsp:nvSpPr>
      <dsp:spPr bwMode="white">
        <a:xfrm>
          <a:off x="1912766" y="836706"/>
          <a:ext cx="765106" cy="765106"/>
        </a:xfrm>
        <a:prstGeom prst="ellipse">
          <a:avLst/>
        </a:prstGeom>
      </dsp:spPr>
      <dsp:style>
        <a:lnRef idx="2">
          <a:schemeClr val="lt1"/>
        </a:lnRef>
        <a:fillRef idx="1">
          <a:schemeClr val="accent1"/>
        </a:fillRef>
        <a:effectRef idx="0">
          <a:scrgbClr r="0" g="0" b="0"/>
        </a:effectRef>
        <a:fontRef idx="minor">
          <a:schemeClr val="lt1"/>
        </a:fontRef>
      </dsp:style>
      <dsp:txBody>
        <a:bodyPr lIns="0" tIns="0" rIns="0" bIns="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sz="900" dirty="0"/>
            <a:t>Manager/Stock Selection</a:t>
          </a:r>
        </a:p>
      </dsp:txBody>
      <dsp:txXfrm>
        <a:off x="1912766" y="836706"/>
        <a:ext cx="765106" cy="765106"/>
      </dsp:txXfrm>
    </dsp:sp>
  </dsp:spTree>
</dsp:drawing>
</file>

<file path=ppt/diagrams/drawing3.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Group 1"/>
      <dsp:cNvGrpSpPr/>
    </dsp:nvGrpSpPr>
    <dsp:grpSpPr>
      <a:xfrm>
        <a:off x="0" y="0"/>
        <a:ext cx="3779265" cy="4038899"/>
        <a:chOff x="0" y="0"/>
        <a:chExt cx="3779265" cy="4038899"/>
      </a:xfrm>
    </dsp:grpSpPr>
    <dsp:sp modelId="{676942FA-DB2A-4DE6-B1A7-2C4F33875B04}">
      <dsp:nvSpPr>
        <dsp:cNvPr id="3" name="Rectangles 2"/>
        <dsp:cNvSpPr/>
      </dsp:nvSpPr>
      <dsp:spPr bwMode="white">
        <a:xfrm>
          <a:off x="629878" y="995308"/>
          <a:ext cx="1181020" cy="787741"/>
        </a:xfrm>
        <a:prstGeom prst="rect">
          <a:avLst/>
        </a:prstGeom>
        <a:solidFill>
          <a:schemeClr val="bg1">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64008" rIns="64008" bIns="64008" anchor="ctr"/>
        <a:lstStyle>
          <a:lvl1pPr algn="l">
            <a:defRPr sz="6500"/>
          </a:lvl1pPr>
          <a:lvl2pPr marL="285750" indent="-285750" algn="l">
            <a:defRPr sz="5000"/>
          </a:lvl2pPr>
          <a:lvl3pPr marL="571500" indent="-285750" algn="l">
            <a:defRPr sz="5000"/>
          </a:lvl3pPr>
          <a:lvl4pPr marL="857250" indent="-285750" algn="l">
            <a:defRPr sz="5000"/>
          </a:lvl4pPr>
          <a:lvl5pPr marL="1143000" indent="-285750" algn="l">
            <a:defRPr sz="5000"/>
          </a:lvl5pPr>
          <a:lvl6pPr marL="1428750" indent="-285750" algn="l">
            <a:defRPr sz="5000"/>
          </a:lvl6pPr>
          <a:lvl7pPr marL="1714500" indent="-285750" algn="l">
            <a:defRPr sz="5000"/>
          </a:lvl7pPr>
          <a:lvl8pPr marL="2000250" indent="-285750" algn="l">
            <a:defRPr sz="5000"/>
          </a:lvl8pPr>
          <a:lvl9pPr marL="2286000" indent="-285750" algn="l">
            <a:defRPr sz="5000"/>
          </a:lvl9pPr>
        </a:lstStyle>
        <a:p>
          <a:pPr lvl="0" algn="ctr">
            <a:lnSpc>
              <a:spcPct val="100000"/>
            </a:lnSpc>
            <a:spcBef>
              <a:spcPct val="0"/>
            </a:spcBef>
            <a:spcAft>
              <a:spcPct val="35000"/>
            </a:spcAft>
          </a:pPr>
          <a:r>
            <a:rPr lang="en-US" sz="900" dirty="0">
              <a:solidFill>
                <a:schemeClr val="dk1"/>
              </a:solidFill>
              <a:latin typeface="Calibri" panose="020F0502020204030204" pitchFamily="34" charset="0"/>
            </a:rPr>
            <a:t>Historical Performance</a:t>
          </a:r>
          <a:endParaRPr>
            <a:solidFill>
              <a:schemeClr val="dk1"/>
            </a:solidFill>
          </a:endParaRPr>
        </a:p>
      </dsp:txBody>
      <dsp:txXfrm>
        <a:off x="629878" y="995308"/>
        <a:ext cx="1181020" cy="787741"/>
      </dsp:txXfrm>
    </dsp:sp>
    <dsp:sp modelId="{BB06E5AE-F59D-4E03-A17E-35530D11C49F}">
      <dsp:nvSpPr>
        <dsp:cNvPr id="4" name="Rectangles 3"/>
        <dsp:cNvSpPr/>
      </dsp:nvSpPr>
      <dsp:spPr bwMode="white">
        <a:xfrm>
          <a:off x="629878" y="1783049"/>
          <a:ext cx="1181020" cy="787741"/>
        </a:xfrm>
        <a:prstGeom prst="rect">
          <a:avLst/>
        </a:prstGeom>
        <a:solidFill>
          <a:schemeClr val="bg1">
            <a:lumMod val="95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64008" rIns="64008" bIns="64008" anchor="ctr"/>
        <a:lstStyle>
          <a:lvl1pPr algn="l">
            <a:defRPr sz="6500"/>
          </a:lvl1pPr>
          <a:lvl2pPr marL="285750" indent="-285750" algn="l">
            <a:defRPr sz="5000"/>
          </a:lvl2pPr>
          <a:lvl3pPr marL="571500" indent="-285750" algn="l">
            <a:defRPr sz="5000"/>
          </a:lvl3pPr>
          <a:lvl4pPr marL="857250" indent="-285750" algn="l">
            <a:defRPr sz="5000"/>
          </a:lvl4pPr>
          <a:lvl5pPr marL="1143000" indent="-285750" algn="l">
            <a:defRPr sz="5000"/>
          </a:lvl5pPr>
          <a:lvl6pPr marL="1428750" indent="-285750" algn="l">
            <a:defRPr sz="5000"/>
          </a:lvl6pPr>
          <a:lvl7pPr marL="1714500" indent="-285750" algn="l">
            <a:defRPr sz="5000"/>
          </a:lvl7pPr>
          <a:lvl8pPr marL="2000250" indent="-285750" algn="l">
            <a:defRPr sz="5000"/>
          </a:lvl8pPr>
          <a:lvl9pPr marL="2286000" indent="-285750" algn="l">
            <a:defRPr sz="5000"/>
          </a:lvl9pPr>
        </a:lstStyle>
        <a:p>
          <a:pPr lvl="0" algn="ctr">
            <a:lnSpc>
              <a:spcPct val="100000"/>
            </a:lnSpc>
            <a:spcBef>
              <a:spcPct val="0"/>
            </a:spcBef>
            <a:spcAft>
              <a:spcPct val="35000"/>
            </a:spcAft>
          </a:pPr>
          <a:r>
            <a:rPr lang="en-US" sz="900" b="1" dirty="0">
              <a:solidFill>
                <a:schemeClr val="tx1"/>
              </a:solidFill>
              <a:latin typeface="Calibri" panose="020F0502020204030204" pitchFamily="34" charset="0"/>
            </a:rPr>
            <a:t>Risk Parameters (Sharpe, Beta)</a:t>
          </a:r>
          <a:endParaRPr>
            <a:solidFill>
              <a:schemeClr val="dk1"/>
            </a:solidFill>
          </a:endParaRPr>
        </a:p>
      </dsp:txBody>
      <dsp:txXfrm>
        <a:off x="629878" y="1783049"/>
        <a:ext cx="1181020" cy="787741"/>
      </dsp:txXfrm>
    </dsp:sp>
    <dsp:sp modelId="{5F6F0EEC-FE4B-4A9D-9369-A703EFCFD1AC}">
      <dsp:nvSpPr>
        <dsp:cNvPr id="5" name="Rectangles 4"/>
        <dsp:cNvSpPr/>
      </dsp:nvSpPr>
      <dsp:spPr bwMode="white">
        <a:xfrm>
          <a:off x="629878" y="2570789"/>
          <a:ext cx="1181020" cy="787741"/>
        </a:xfrm>
        <a:prstGeom prst="rect">
          <a:avLst/>
        </a:prstGeom>
        <a:solidFill>
          <a:schemeClr val="bg1">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64008" rIns="64008" bIns="64008" anchor="ctr"/>
        <a:lstStyle>
          <a:lvl1pPr algn="l">
            <a:defRPr sz="6500"/>
          </a:lvl1pPr>
          <a:lvl2pPr marL="285750" indent="-285750" algn="l">
            <a:defRPr sz="5000"/>
          </a:lvl2pPr>
          <a:lvl3pPr marL="571500" indent="-285750" algn="l">
            <a:defRPr sz="5000"/>
          </a:lvl3pPr>
          <a:lvl4pPr marL="857250" indent="-285750" algn="l">
            <a:defRPr sz="5000"/>
          </a:lvl4pPr>
          <a:lvl5pPr marL="1143000" indent="-285750" algn="l">
            <a:defRPr sz="5000"/>
          </a:lvl5pPr>
          <a:lvl6pPr marL="1428750" indent="-285750" algn="l">
            <a:defRPr sz="5000"/>
          </a:lvl6pPr>
          <a:lvl7pPr marL="1714500" indent="-285750" algn="l">
            <a:defRPr sz="5000"/>
          </a:lvl7pPr>
          <a:lvl8pPr marL="2000250" indent="-285750" algn="l">
            <a:defRPr sz="5000"/>
          </a:lvl8pPr>
          <a:lvl9pPr marL="2286000" indent="-285750" algn="l">
            <a:defRPr sz="5000"/>
          </a:lvl9pPr>
        </a:lstStyle>
        <a:p>
          <a:pPr lvl="0" algn="ctr">
            <a:lnSpc>
              <a:spcPct val="100000"/>
            </a:lnSpc>
            <a:spcBef>
              <a:spcPct val="0"/>
            </a:spcBef>
            <a:spcAft>
              <a:spcPct val="35000"/>
            </a:spcAft>
          </a:pPr>
          <a:r>
            <a:rPr lang="en-US" sz="900" dirty="0">
              <a:solidFill>
                <a:schemeClr val="dk1"/>
              </a:solidFill>
              <a:latin typeface="Calibri" panose="020F0502020204030204" pitchFamily="34" charset="0"/>
            </a:rPr>
            <a:t>Rolling returns &amp; Quartile Analysis</a:t>
          </a:r>
          <a:endParaRPr>
            <a:solidFill>
              <a:schemeClr val="dk1"/>
            </a:solidFill>
          </a:endParaRPr>
        </a:p>
      </dsp:txBody>
      <dsp:txXfrm>
        <a:off x="629878" y="2570789"/>
        <a:ext cx="1181020" cy="787741"/>
      </dsp:txXfrm>
    </dsp:sp>
    <dsp:sp modelId="{6A0AB1BF-176D-4912-A558-069CD2444DE2}">
      <dsp:nvSpPr>
        <dsp:cNvPr id="6" name="Oval 5"/>
        <dsp:cNvSpPr/>
      </dsp:nvSpPr>
      <dsp:spPr bwMode="white">
        <a:xfrm>
          <a:off x="0" y="680369"/>
          <a:ext cx="787347" cy="787347"/>
        </a:xfrm>
        <a:prstGeom prst="ellipse">
          <a:avLst/>
        </a:prstGeom>
      </dsp:spPr>
      <dsp:style>
        <a:lnRef idx="2">
          <a:schemeClr val="lt1"/>
        </a:lnRef>
        <a:fillRef idx="1">
          <a:schemeClr val="accent1"/>
        </a:fillRef>
        <a:effectRef idx="0">
          <a:scrgbClr r="0" g="0" b="0"/>
        </a:effectRef>
        <a:fontRef idx="minor">
          <a:schemeClr val="lt1"/>
        </a:fontRef>
      </dsp:style>
      <dsp:txBody>
        <a:bodyPr lIns="0" tIns="0" rIns="0" bIns="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sz="900" dirty="0">
              <a:latin typeface="Calibri" panose="020F0502020204030204" pitchFamily="34" charset="0"/>
            </a:rPr>
            <a:t>Data</a:t>
          </a:r>
        </a:p>
      </dsp:txBody>
      <dsp:txXfrm>
        <a:off x="0" y="680369"/>
        <a:ext cx="787347" cy="787347"/>
      </dsp:txXfrm>
    </dsp:sp>
    <dsp:sp modelId="{1A05FC16-C614-4C98-8888-4C13A883B7A8}">
      <dsp:nvSpPr>
        <dsp:cNvPr id="7" name="Rectangles 6"/>
        <dsp:cNvSpPr/>
      </dsp:nvSpPr>
      <dsp:spPr bwMode="white">
        <a:xfrm>
          <a:off x="2598245" y="995308"/>
          <a:ext cx="1181020" cy="787741"/>
        </a:xfrm>
        <a:prstGeom prst="rect">
          <a:avLst/>
        </a:prstGeom>
        <a:solidFill>
          <a:schemeClr val="bg1"/>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64008" rIns="64008" bIns="64008" anchor="ctr"/>
        <a:lstStyle>
          <a:lvl1pPr algn="l">
            <a:defRPr sz="6500"/>
          </a:lvl1pPr>
          <a:lvl2pPr marL="285750" indent="-285750" algn="l">
            <a:defRPr sz="5000"/>
          </a:lvl2pPr>
          <a:lvl3pPr marL="571500" indent="-285750" algn="l">
            <a:defRPr sz="5000"/>
          </a:lvl3pPr>
          <a:lvl4pPr marL="857250" indent="-285750" algn="l">
            <a:defRPr sz="5000"/>
          </a:lvl4pPr>
          <a:lvl5pPr marL="1143000" indent="-285750" algn="l">
            <a:defRPr sz="5000"/>
          </a:lvl5pPr>
          <a:lvl6pPr marL="1428750" indent="-285750" algn="l">
            <a:defRPr sz="5000"/>
          </a:lvl6pPr>
          <a:lvl7pPr marL="1714500" indent="-285750" algn="l">
            <a:defRPr sz="5000"/>
          </a:lvl7pPr>
          <a:lvl8pPr marL="2000250" indent="-285750" algn="l">
            <a:defRPr sz="5000"/>
          </a:lvl8pPr>
          <a:lvl9pPr marL="2286000" indent="-285750" algn="l">
            <a:defRPr sz="5000"/>
          </a:lvl9pPr>
        </a:lstStyle>
        <a:p>
          <a:pPr lvl="0" algn="ctr">
            <a:lnSpc>
              <a:spcPct val="100000"/>
            </a:lnSpc>
            <a:spcBef>
              <a:spcPct val="0"/>
            </a:spcBef>
            <a:spcAft>
              <a:spcPct val="35000"/>
            </a:spcAft>
          </a:pPr>
          <a:r>
            <a:rPr lang="en-US" sz="900" dirty="0">
              <a:solidFill>
                <a:schemeClr val="dk1"/>
              </a:solidFill>
              <a:latin typeface="Calibri" panose="020F0502020204030204" pitchFamily="34" charset="0"/>
            </a:rPr>
            <a:t>Top Holdings, detailed Portfolio</a:t>
          </a:r>
          <a:endParaRPr>
            <a:solidFill>
              <a:schemeClr val="dk1"/>
            </a:solidFill>
          </a:endParaRPr>
        </a:p>
      </dsp:txBody>
      <dsp:txXfrm>
        <a:off x="2598245" y="995308"/>
        <a:ext cx="1181020" cy="787741"/>
      </dsp:txXfrm>
    </dsp:sp>
    <dsp:sp modelId="{061FA7CE-D25C-4FFB-9C08-8F149D438A4E}">
      <dsp:nvSpPr>
        <dsp:cNvPr id="8" name="Rectangles 7"/>
        <dsp:cNvSpPr/>
      </dsp:nvSpPr>
      <dsp:spPr bwMode="white">
        <a:xfrm>
          <a:off x="2598245" y="1783049"/>
          <a:ext cx="1181020" cy="787741"/>
        </a:xfrm>
        <a:prstGeom prst="rect">
          <a:avLst/>
        </a:prstGeom>
        <a:solidFill>
          <a:schemeClr val="bg1">
            <a:lumMod val="95000"/>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64008" rIns="64008" bIns="64008" anchor="ctr"/>
        <a:lstStyle>
          <a:lvl1pPr algn="l">
            <a:defRPr sz="6500"/>
          </a:lvl1pPr>
          <a:lvl2pPr marL="285750" indent="-285750" algn="l">
            <a:defRPr sz="5000"/>
          </a:lvl2pPr>
          <a:lvl3pPr marL="571500" indent="-285750" algn="l">
            <a:defRPr sz="5000"/>
          </a:lvl3pPr>
          <a:lvl4pPr marL="857250" indent="-285750" algn="l">
            <a:defRPr sz="5000"/>
          </a:lvl4pPr>
          <a:lvl5pPr marL="1143000" indent="-285750" algn="l">
            <a:defRPr sz="5000"/>
          </a:lvl5pPr>
          <a:lvl6pPr marL="1428750" indent="-285750" algn="l">
            <a:defRPr sz="5000"/>
          </a:lvl6pPr>
          <a:lvl7pPr marL="1714500" indent="-285750" algn="l">
            <a:defRPr sz="5000"/>
          </a:lvl7pPr>
          <a:lvl8pPr marL="2000250" indent="-285750" algn="l">
            <a:defRPr sz="5000"/>
          </a:lvl8pPr>
          <a:lvl9pPr marL="2286000" indent="-285750" algn="l">
            <a:defRPr sz="5000"/>
          </a:lvl9pPr>
        </a:lstStyle>
        <a:p>
          <a:pPr lvl="0" algn="ctr">
            <a:lnSpc>
              <a:spcPct val="100000"/>
            </a:lnSpc>
            <a:spcBef>
              <a:spcPct val="0"/>
            </a:spcBef>
            <a:spcAft>
              <a:spcPct val="35000"/>
            </a:spcAft>
          </a:pPr>
          <a:r>
            <a:rPr lang="en-US" sz="900" b="1" dirty="0">
              <a:solidFill>
                <a:schemeClr val="tx1"/>
              </a:solidFill>
              <a:latin typeface="Calibri" panose="020F0502020204030204" pitchFamily="34" charset="0"/>
            </a:rPr>
            <a:t>Sector Overweight/</a:t>
          </a:r>
          <a:endParaRPr lang="en-US" sz="900" b="1" dirty="0">
            <a:solidFill>
              <a:schemeClr val="tx1"/>
            </a:solidFill>
            <a:latin typeface="Calibri" panose="020F0502020204030204" pitchFamily="34" charset="0"/>
          </a:endParaRPr>
        </a:p>
        <a:p>
          <a:pPr lvl="0" algn="ctr">
            <a:lnSpc>
              <a:spcPct val="100000"/>
            </a:lnSpc>
            <a:spcBef>
              <a:spcPct val="0"/>
            </a:spcBef>
            <a:spcAft>
              <a:spcPct val="35000"/>
            </a:spcAft>
          </a:pPr>
          <a:r>
            <a:rPr lang="en-US" sz="900" b="1" dirty="0">
              <a:solidFill>
                <a:schemeClr val="tx1"/>
              </a:solidFill>
              <a:latin typeface="Calibri" panose="020F0502020204030204" pitchFamily="34" charset="0"/>
            </a:rPr>
            <a:t>Underweight </a:t>
          </a:r>
          <a:endParaRPr>
            <a:solidFill>
              <a:schemeClr val="dk1"/>
            </a:solidFill>
          </a:endParaRPr>
        </a:p>
      </dsp:txBody>
      <dsp:txXfrm>
        <a:off x="2598245" y="1783049"/>
        <a:ext cx="1181020" cy="787741"/>
      </dsp:txXfrm>
    </dsp:sp>
    <dsp:sp modelId="{7B0C2434-EE96-42FE-A4BE-A4511F2BC7AC}">
      <dsp:nvSpPr>
        <dsp:cNvPr id="9" name="Rectangles 8"/>
        <dsp:cNvSpPr/>
      </dsp:nvSpPr>
      <dsp:spPr bwMode="white">
        <a:xfrm>
          <a:off x="2598245" y="2570789"/>
          <a:ext cx="1181020" cy="787741"/>
        </a:xfrm>
        <a:prstGeom prst="rect">
          <a:avLst/>
        </a:prstGeom>
        <a:solidFill>
          <a:schemeClr val="bg1">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64008" rIns="64008" bIns="64008" anchor="ctr"/>
        <a:lstStyle>
          <a:lvl1pPr algn="l">
            <a:defRPr sz="6500"/>
          </a:lvl1pPr>
          <a:lvl2pPr marL="285750" indent="-285750" algn="l">
            <a:defRPr sz="5000"/>
          </a:lvl2pPr>
          <a:lvl3pPr marL="571500" indent="-285750" algn="l">
            <a:defRPr sz="5000"/>
          </a:lvl3pPr>
          <a:lvl4pPr marL="857250" indent="-285750" algn="l">
            <a:defRPr sz="5000"/>
          </a:lvl4pPr>
          <a:lvl5pPr marL="1143000" indent="-285750" algn="l">
            <a:defRPr sz="5000"/>
          </a:lvl5pPr>
          <a:lvl6pPr marL="1428750" indent="-285750" algn="l">
            <a:defRPr sz="5000"/>
          </a:lvl6pPr>
          <a:lvl7pPr marL="1714500" indent="-285750" algn="l">
            <a:defRPr sz="5000"/>
          </a:lvl7pPr>
          <a:lvl8pPr marL="2000250" indent="-285750" algn="l">
            <a:defRPr sz="5000"/>
          </a:lvl8pPr>
          <a:lvl9pPr marL="2286000" indent="-285750" algn="l">
            <a:defRPr sz="5000"/>
          </a:lvl9pPr>
        </a:lstStyle>
        <a:p>
          <a:pPr lvl="0" algn="ctr">
            <a:lnSpc>
              <a:spcPct val="100000"/>
            </a:lnSpc>
            <a:spcBef>
              <a:spcPct val="0"/>
            </a:spcBef>
            <a:spcAft>
              <a:spcPct val="35000"/>
            </a:spcAft>
          </a:pPr>
          <a:r>
            <a:rPr lang="en-US" sz="900" dirty="0">
              <a:solidFill>
                <a:schemeClr val="dk1"/>
              </a:solidFill>
              <a:latin typeface="Calibri" panose="020F0502020204030204" pitchFamily="34" charset="0"/>
            </a:rPr>
            <a:t>Fund Manager Interaction</a:t>
          </a:r>
          <a:endParaRPr>
            <a:solidFill>
              <a:schemeClr val="dk1"/>
            </a:solidFill>
          </a:endParaRPr>
        </a:p>
      </dsp:txBody>
      <dsp:txXfrm>
        <a:off x="2598245" y="2570789"/>
        <a:ext cx="1181020" cy="787741"/>
      </dsp:txXfrm>
    </dsp:sp>
    <dsp:sp modelId="{AF76CFD8-02C8-4441-8215-EE5E775F4874}">
      <dsp:nvSpPr>
        <dsp:cNvPr id="10" name="Oval 9"/>
        <dsp:cNvSpPr/>
      </dsp:nvSpPr>
      <dsp:spPr bwMode="white">
        <a:xfrm>
          <a:off x="1968367" y="680369"/>
          <a:ext cx="787347" cy="787347"/>
        </a:xfrm>
        <a:prstGeom prst="ellipse">
          <a:avLst/>
        </a:prstGeom>
      </dsp:spPr>
      <dsp:style>
        <a:lnRef idx="2">
          <a:schemeClr val="lt1"/>
        </a:lnRef>
        <a:fillRef idx="1">
          <a:schemeClr val="accent1"/>
        </a:fillRef>
        <a:effectRef idx="0">
          <a:scrgbClr r="0" g="0" b="0"/>
        </a:effectRef>
        <a:fontRef idx="minor">
          <a:schemeClr val="lt1"/>
        </a:fontRef>
      </dsp:style>
      <dsp:txBody>
        <a:bodyPr lIns="0" tIns="0" rIns="0" bIns="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sz="900" dirty="0">
              <a:latin typeface="Calibri" panose="020F0502020204030204" pitchFamily="34" charset="0"/>
            </a:rPr>
            <a:t>Information</a:t>
          </a:r>
        </a:p>
      </dsp:txBody>
      <dsp:txXfrm>
        <a:off x="1968367" y="680369"/>
        <a:ext cx="787347" cy="787347"/>
      </dsp:txXfrm>
    </dsp:sp>
  </dsp:spTree>
</dsp:drawing>
</file>

<file path=ppt/diagrams/drawing4.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Group 1"/>
      <dsp:cNvGrpSpPr/>
    </dsp:nvGrpSpPr>
    <dsp:grpSpPr>
      <a:xfrm>
        <a:off x="0" y="0"/>
        <a:ext cx="3672510" cy="4275921"/>
        <a:chOff x="0" y="0"/>
        <a:chExt cx="3672510" cy="4275921"/>
      </a:xfrm>
    </dsp:grpSpPr>
    <dsp:sp modelId="{676942FA-DB2A-4DE6-B1A7-2C4F33875B04}">
      <dsp:nvSpPr>
        <dsp:cNvPr id="3" name="Rectangles 2"/>
        <dsp:cNvSpPr/>
      </dsp:nvSpPr>
      <dsp:spPr bwMode="white">
        <a:xfrm>
          <a:off x="612085" y="1142749"/>
          <a:ext cx="1147659" cy="765489"/>
        </a:xfrm>
        <a:prstGeom prst="rect">
          <a:avLst/>
        </a:prstGeom>
        <a:solidFill>
          <a:schemeClr val="bg1">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71120" rIns="71120" bIns="71120" anchor="ctr"/>
        <a:lstStyle>
          <a:lvl1pPr algn="l">
            <a:defRPr sz="1000"/>
          </a:lvl1pPr>
          <a:lvl2pPr marL="57150" indent="-57150" algn="l">
            <a:defRPr sz="700"/>
          </a:lvl2pPr>
          <a:lvl3pPr marL="114300" indent="-57150" algn="l">
            <a:defRPr sz="700"/>
          </a:lvl3pPr>
          <a:lvl4pPr marL="171450" indent="-57150" algn="l">
            <a:defRPr sz="700"/>
          </a:lvl4pPr>
          <a:lvl5pPr marL="228600" indent="-57150" algn="l">
            <a:defRPr sz="700"/>
          </a:lvl5pPr>
          <a:lvl6pPr marL="285750" indent="-57150" algn="l">
            <a:defRPr sz="700"/>
          </a:lvl6pPr>
          <a:lvl7pPr marL="342900" indent="-57150" algn="l">
            <a:defRPr sz="700"/>
          </a:lvl7pPr>
          <a:lvl8pPr marL="400050" indent="-57150" algn="l">
            <a:defRPr sz="700"/>
          </a:lvl8pPr>
          <a:lvl9pPr marL="457200" indent="-57150" algn="l">
            <a:defRPr sz="700"/>
          </a:lvl9pPr>
        </a:lstStyle>
        <a:p>
          <a:pPr lvl="0" algn="ctr">
            <a:lnSpc>
              <a:spcPct val="100000"/>
            </a:lnSpc>
            <a:spcBef>
              <a:spcPct val="0"/>
            </a:spcBef>
            <a:spcAft>
              <a:spcPct val="35000"/>
            </a:spcAft>
          </a:pPr>
          <a:r>
            <a:rPr lang="en-US" dirty="0">
              <a:solidFill>
                <a:schemeClr val="dk1"/>
              </a:solidFill>
              <a:latin typeface="Calibri" panose="020F0502020204030204" pitchFamily="34" charset="0"/>
            </a:rPr>
            <a:t>Understanding portfolio style</a:t>
          </a:r>
          <a:endParaRPr>
            <a:solidFill>
              <a:schemeClr val="dk1"/>
            </a:solidFill>
          </a:endParaRPr>
        </a:p>
      </dsp:txBody>
      <dsp:txXfrm>
        <a:off x="612085" y="1142749"/>
        <a:ext cx="1147659" cy="765489"/>
      </dsp:txXfrm>
    </dsp:sp>
    <dsp:sp modelId="{FC3D83FF-8FE1-411D-9168-38B0A3670960}">
      <dsp:nvSpPr>
        <dsp:cNvPr id="4" name="Rectangles 3"/>
        <dsp:cNvSpPr/>
      </dsp:nvSpPr>
      <dsp:spPr bwMode="white">
        <a:xfrm>
          <a:off x="612085" y="1908237"/>
          <a:ext cx="1147659" cy="765489"/>
        </a:xfrm>
        <a:prstGeom prst="rect">
          <a:avLst/>
        </a:prstGeom>
        <a:solidFill>
          <a:schemeClr val="bg1">
            <a:lumMod val="95000"/>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71120" rIns="71120" bIns="71120" anchor="ctr"/>
        <a:lstStyle>
          <a:lvl1pPr algn="l">
            <a:defRPr sz="1000"/>
          </a:lvl1pPr>
          <a:lvl2pPr marL="57150" indent="-57150" algn="l">
            <a:defRPr sz="700"/>
          </a:lvl2pPr>
          <a:lvl3pPr marL="114300" indent="-57150" algn="l">
            <a:defRPr sz="700"/>
          </a:lvl3pPr>
          <a:lvl4pPr marL="171450" indent="-57150" algn="l">
            <a:defRPr sz="700"/>
          </a:lvl4pPr>
          <a:lvl5pPr marL="228600" indent="-57150" algn="l">
            <a:defRPr sz="700"/>
          </a:lvl5pPr>
          <a:lvl6pPr marL="285750" indent="-57150" algn="l">
            <a:defRPr sz="700"/>
          </a:lvl6pPr>
          <a:lvl7pPr marL="342900" indent="-57150" algn="l">
            <a:defRPr sz="700"/>
          </a:lvl7pPr>
          <a:lvl8pPr marL="400050" indent="-57150" algn="l">
            <a:defRPr sz="700"/>
          </a:lvl8pPr>
          <a:lvl9pPr marL="457200" indent="-57150" algn="l">
            <a:defRPr sz="700"/>
          </a:lvl9pPr>
        </a:lstStyle>
        <a:p>
          <a:pPr lvl="0" algn="ctr">
            <a:lnSpc>
              <a:spcPct val="100000"/>
            </a:lnSpc>
            <a:spcBef>
              <a:spcPct val="0"/>
            </a:spcBef>
            <a:spcAft>
              <a:spcPct val="35000"/>
            </a:spcAft>
          </a:pPr>
          <a:r>
            <a:rPr lang="en-US" b="1" dirty="0">
              <a:solidFill>
                <a:schemeClr val="tx1"/>
              </a:solidFill>
              <a:latin typeface="Calibri" panose="020F0502020204030204" pitchFamily="34" charset="0"/>
            </a:rPr>
            <a:t>Correct</a:t>
          </a:r>
          <a:r>
            <a:rPr lang="en-US" b="1" baseline="0" dirty="0">
              <a:solidFill>
                <a:schemeClr val="tx1"/>
              </a:solidFill>
              <a:latin typeface="Calibri" panose="020F0502020204030204" pitchFamily="34" charset="0"/>
            </a:rPr>
            <a:t> Classification</a:t>
          </a:r>
          <a:endParaRPr lang="en-US" b="1" dirty="0">
            <a:solidFill>
              <a:schemeClr val="tx1"/>
            </a:solidFill>
            <a:latin typeface="Calibri" panose="020F0502020204030204" pitchFamily="34" charset="0"/>
          </a:endParaRPr>
        </a:p>
      </dsp:txBody>
      <dsp:txXfrm>
        <a:off x="612085" y="1908237"/>
        <a:ext cx="1147659" cy="765489"/>
      </dsp:txXfrm>
    </dsp:sp>
    <dsp:sp modelId="{E553CB4C-163A-4FF9-8246-9DE67CF92F1B}">
      <dsp:nvSpPr>
        <dsp:cNvPr id="5" name="Rectangles 4"/>
        <dsp:cNvSpPr/>
      </dsp:nvSpPr>
      <dsp:spPr bwMode="white">
        <a:xfrm>
          <a:off x="612085" y="2673726"/>
          <a:ext cx="1147659" cy="765489"/>
        </a:xfrm>
        <a:prstGeom prst="rect">
          <a:avLst/>
        </a:prstGeom>
        <a:solidFill>
          <a:schemeClr val="bg1">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71120" rIns="71120" bIns="71120" anchor="ctr"/>
        <a:lstStyle>
          <a:lvl1pPr algn="l">
            <a:defRPr sz="1000"/>
          </a:lvl1pPr>
          <a:lvl2pPr marL="57150" indent="-57150" algn="l">
            <a:defRPr sz="700"/>
          </a:lvl2pPr>
          <a:lvl3pPr marL="114300" indent="-57150" algn="l">
            <a:defRPr sz="700"/>
          </a:lvl3pPr>
          <a:lvl4pPr marL="171450" indent="-57150" algn="l">
            <a:defRPr sz="700"/>
          </a:lvl4pPr>
          <a:lvl5pPr marL="228600" indent="-57150" algn="l">
            <a:defRPr sz="700"/>
          </a:lvl5pPr>
          <a:lvl6pPr marL="285750" indent="-57150" algn="l">
            <a:defRPr sz="700"/>
          </a:lvl6pPr>
          <a:lvl7pPr marL="342900" indent="-57150" algn="l">
            <a:defRPr sz="700"/>
          </a:lvl7pPr>
          <a:lvl8pPr marL="400050" indent="-57150" algn="l">
            <a:defRPr sz="700"/>
          </a:lvl8pPr>
          <a:lvl9pPr marL="457200" indent="-57150" algn="l">
            <a:defRPr sz="700"/>
          </a:lvl9pPr>
        </a:lstStyle>
        <a:p>
          <a:pPr lvl="0" algn="ctr">
            <a:lnSpc>
              <a:spcPct val="100000"/>
            </a:lnSpc>
            <a:spcBef>
              <a:spcPct val="0"/>
            </a:spcBef>
            <a:spcAft>
              <a:spcPct val="35000"/>
            </a:spcAft>
          </a:pPr>
          <a:r>
            <a:rPr lang="en-US" dirty="0">
              <a:solidFill>
                <a:schemeClr val="dk1"/>
              </a:solidFill>
              <a:latin typeface="Calibri" panose="020F0502020204030204" pitchFamily="34" charset="0"/>
            </a:rPr>
            <a:t>Growth/GARP/</a:t>
          </a:r>
          <a:endParaRPr lang="en-US" dirty="0">
            <a:solidFill>
              <a:schemeClr val="dk1"/>
            </a:solidFill>
            <a:latin typeface="Calibri" panose="020F0502020204030204" pitchFamily="34" charset="0"/>
          </a:endParaRPr>
        </a:p>
        <a:p>
          <a:pPr lvl="0" algn="ctr">
            <a:lnSpc>
              <a:spcPct val="100000"/>
            </a:lnSpc>
            <a:spcBef>
              <a:spcPct val="0"/>
            </a:spcBef>
            <a:spcAft>
              <a:spcPct val="35000"/>
            </a:spcAft>
          </a:pPr>
          <a:r>
            <a:rPr lang="en-US" dirty="0">
              <a:solidFill>
                <a:schemeClr val="dk1"/>
              </a:solidFill>
              <a:latin typeface="Calibri" panose="020F0502020204030204" pitchFamily="34" charset="0"/>
            </a:rPr>
            <a:t>Value</a:t>
          </a:r>
          <a:endParaRPr>
            <a:solidFill>
              <a:schemeClr val="dk1"/>
            </a:solidFill>
          </a:endParaRPr>
        </a:p>
      </dsp:txBody>
      <dsp:txXfrm>
        <a:off x="612085" y="2673726"/>
        <a:ext cx="1147659" cy="765489"/>
      </dsp:txXfrm>
    </dsp:sp>
    <dsp:sp modelId="{6A0AB1BF-176D-4912-A558-069CD2444DE2}">
      <dsp:nvSpPr>
        <dsp:cNvPr id="6" name="Oval 5"/>
        <dsp:cNvSpPr/>
      </dsp:nvSpPr>
      <dsp:spPr bwMode="white">
        <a:xfrm>
          <a:off x="0" y="836706"/>
          <a:ext cx="765106" cy="765106"/>
        </a:xfrm>
        <a:prstGeom prst="ellipse">
          <a:avLst/>
        </a:prstGeom>
      </dsp:spPr>
      <dsp:style>
        <a:lnRef idx="2">
          <a:schemeClr val="lt1"/>
        </a:lnRef>
        <a:fillRef idx="1">
          <a:schemeClr val="accent1"/>
        </a:fillRef>
        <a:effectRef idx="0">
          <a:scrgbClr r="0" g="0" b="0"/>
        </a:effectRef>
        <a:fontRef idx="minor">
          <a:schemeClr val="lt1"/>
        </a:fontRef>
      </dsp:style>
      <dsp:txBody>
        <a:bodyPr lIns="0" tIns="0" rIns="0" bIns="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sz="900" dirty="0">
              <a:latin typeface="Calibri" panose="020F0502020204030204" pitchFamily="34" charset="0"/>
            </a:rPr>
            <a:t>Knowledge</a:t>
          </a:r>
        </a:p>
      </dsp:txBody>
      <dsp:txXfrm>
        <a:off x="0" y="836706"/>
        <a:ext cx="765106" cy="765106"/>
      </dsp:txXfrm>
    </dsp:sp>
    <dsp:sp modelId="{1A05FC16-C614-4C98-8888-4C13A883B7A8}">
      <dsp:nvSpPr>
        <dsp:cNvPr id="7" name="Rectangles 6"/>
        <dsp:cNvSpPr/>
      </dsp:nvSpPr>
      <dsp:spPr bwMode="white">
        <a:xfrm>
          <a:off x="2524851" y="1142749"/>
          <a:ext cx="1147659" cy="765489"/>
        </a:xfrm>
        <a:prstGeom prst="rect">
          <a:avLst/>
        </a:prstGeom>
        <a:solidFill>
          <a:schemeClr val="bg1">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71120" rIns="71120" bIns="71120" anchor="ctr"/>
        <a:lstStyle>
          <a:lvl1pPr algn="l">
            <a:defRPr sz="1000"/>
          </a:lvl1pPr>
          <a:lvl2pPr marL="57150" indent="-57150" algn="l">
            <a:defRPr sz="700"/>
          </a:lvl2pPr>
          <a:lvl3pPr marL="114300" indent="-57150" algn="l">
            <a:defRPr sz="700"/>
          </a:lvl3pPr>
          <a:lvl4pPr marL="171450" indent="-57150" algn="l">
            <a:defRPr sz="700"/>
          </a:lvl4pPr>
          <a:lvl5pPr marL="228600" indent="-57150" algn="l">
            <a:defRPr sz="700"/>
          </a:lvl5pPr>
          <a:lvl6pPr marL="285750" indent="-57150" algn="l">
            <a:defRPr sz="700"/>
          </a:lvl6pPr>
          <a:lvl7pPr marL="342900" indent="-57150" algn="l">
            <a:defRPr sz="700"/>
          </a:lvl7pPr>
          <a:lvl8pPr marL="400050" indent="-57150" algn="l">
            <a:defRPr sz="700"/>
          </a:lvl8pPr>
          <a:lvl9pPr marL="457200" indent="-57150" algn="l">
            <a:defRPr sz="700"/>
          </a:lvl9pPr>
        </a:lstStyle>
        <a:p>
          <a:pPr lvl="0" algn="ctr">
            <a:lnSpc>
              <a:spcPct val="100000"/>
            </a:lnSpc>
            <a:spcBef>
              <a:spcPct val="0"/>
            </a:spcBef>
            <a:spcAft>
              <a:spcPct val="35000"/>
            </a:spcAft>
          </a:pPr>
          <a:r>
            <a:rPr lang="en-US" dirty="0">
              <a:solidFill>
                <a:schemeClr val="dk1"/>
              </a:solidFill>
              <a:latin typeface="Calibri" panose="020F0502020204030204" pitchFamily="34" charset="0"/>
            </a:rPr>
            <a:t>Understanding Market Cycles</a:t>
          </a:r>
          <a:endParaRPr>
            <a:solidFill>
              <a:schemeClr val="dk1"/>
            </a:solidFill>
          </a:endParaRPr>
        </a:p>
      </dsp:txBody>
      <dsp:txXfrm>
        <a:off x="2524851" y="1142749"/>
        <a:ext cx="1147659" cy="765489"/>
      </dsp:txXfrm>
    </dsp:sp>
    <dsp:sp modelId="{E6611974-2A3C-4CFA-B90F-942E9C0FC135}">
      <dsp:nvSpPr>
        <dsp:cNvPr id="8" name="Rectangles 7"/>
        <dsp:cNvSpPr/>
      </dsp:nvSpPr>
      <dsp:spPr bwMode="white">
        <a:xfrm>
          <a:off x="2524851" y="1908237"/>
          <a:ext cx="1147659" cy="765489"/>
        </a:xfrm>
        <a:prstGeom prst="rect">
          <a:avLst/>
        </a:prstGeom>
        <a:solidFill>
          <a:schemeClr val="bg1">
            <a:lumMod val="95000"/>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71120" rIns="71120" bIns="71120" anchor="ctr"/>
        <a:lstStyle>
          <a:lvl1pPr algn="l">
            <a:defRPr sz="1000"/>
          </a:lvl1pPr>
          <a:lvl2pPr marL="57150" indent="-57150" algn="l">
            <a:defRPr sz="700"/>
          </a:lvl2pPr>
          <a:lvl3pPr marL="114300" indent="-57150" algn="l">
            <a:defRPr sz="700"/>
          </a:lvl3pPr>
          <a:lvl4pPr marL="171450" indent="-57150" algn="l">
            <a:defRPr sz="700"/>
          </a:lvl4pPr>
          <a:lvl5pPr marL="228600" indent="-57150" algn="l">
            <a:defRPr sz="700"/>
          </a:lvl5pPr>
          <a:lvl6pPr marL="285750" indent="-57150" algn="l">
            <a:defRPr sz="700"/>
          </a:lvl6pPr>
          <a:lvl7pPr marL="342900" indent="-57150" algn="l">
            <a:defRPr sz="700"/>
          </a:lvl7pPr>
          <a:lvl8pPr marL="400050" indent="-57150" algn="l">
            <a:defRPr sz="700"/>
          </a:lvl8pPr>
          <a:lvl9pPr marL="457200" indent="-57150" algn="l">
            <a:defRPr sz="700"/>
          </a:lvl9pPr>
        </a:lstStyle>
        <a:p>
          <a:pPr lvl="0" algn="ctr">
            <a:lnSpc>
              <a:spcPct val="100000"/>
            </a:lnSpc>
            <a:spcBef>
              <a:spcPct val="0"/>
            </a:spcBef>
            <a:spcAft>
              <a:spcPct val="35000"/>
            </a:spcAft>
          </a:pPr>
          <a:r>
            <a:rPr lang="en-US" b="1" dirty="0">
              <a:solidFill>
                <a:schemeClr val="tx1"/>
              </a:solidFill>
              <a:latin typeface="Calibri" panose="020F0502020204030204" pitchFamily="34" charset="0"/>
            </a:rPr>
            <a:t>Liquidity, Valuations, Economic, and Earnings cycle</a:t>
          </a:r>
          <a:endParaRPr>
            <a:solidFill>
              <a:schemeClr val="dk1"/>
            </a:solidFill>
          </a:endParaRPr>
        </a:p>
      </dsp:txBody>
      <dsp:txXfrm>
        <a:off x="2524851" y="1908237"/>
        <a:ext cx="1147659" cy="765489"/>
      </dsp:txXfrm>
    </dsp:sp>
    <dsp:sp modelId="{7B0C2434-EE96-42FE-A4BE-A4511F2BC7AC}">
      <dsp:nvSpPr>
        <dsp:cNvPr id="9" name="Rectangles 8"/>
        <dsp:cNvSpPr/>
      </dsp:nvSpPr>
      <dsp:spPr bwMode="white">
        <a:xfrm>
          <a:off x="2524851" y="2673726"/>
          <a:ext cx="1147659" cy="765489"/>
        </a:xfrm>
        <a:prstGeom prst="rect">
          <a:avLst/>
        </a:prstGeom>
        <a:solidFill>
          <a:schemeClr val="bg1">
            <a:alpha val="90000"/>
          </a:schemeClr>
        </a:solidFill>
      </dsp:spPr>
      <dsp:style>
        <a:lnRef idx="2">
          <a:schemeClr val="accent1">
            <a:alpha val="90000"/>
            <a:tint val="40000"/>
          </a:schemeClr>
        </a:lnRef>
        <a:fillRef idx="1">
          <a:schemeClr val="accent1">
            <a:alpha val="90000"/>
            <a:tint val="40000"/>
          </a:schemeClr>
        </a:fillRef>
        <a:effectRef idx="0">
          <a:scrgbClr r="0" g="0" b="0"/>
        </a:effectRef>
        <a:fontRef idx="minor"/>
      </dsp:style>
      <dsp:txBody>
        <a:bodyPr lIns="0" tIns="71120" rIns="71120" bIns="71120" anchor="ctr"/>
        <a:lstStyle>
          <a:lvl1pPr algn="l">
            <a:defRPr sz="1000"/>
          </a:lvl1pPr>
          <a:lvl2pPr marL="57150" indent="-57150" algn="l">
            <a:defRPr sz="700"/>
          </a:lvl2pPr>
          <a:lvl3pPr marL="114300" indent="-57150" algn="l">
            <a:defRPr sz="700"/>
          </a:lvl3pPr>
          <a:lvl4pPr marL="171450" indent="-57150" algn="l">
            <a:defRPr sz="700"/>
          </a:lvl4pPr>
          <a:lvl5pPr marL="228600" indent="-57150" algn="l">
            <a:defRPr sz="700"/>
          </a:lvl5pPr>
          <a:lvl6pPr marL="285750" indent="-57150" algn="l">
            <a:defRPr sz="700"/>
          </a:lvl6pPr>
          <a:lvl7pPr marL="342900" indent="-57150" algn="l">
            <a:defRPr sz="700"/>
          </a:lvl7pPr>
          <a:lvl8pPr marL="400050" indent="-57150" algn="l">
            <a:defRPr sz="700"/>
          </a:lvl8pPr>
          <a:lvl9pPr marL="457200" indent="-57150" algn="l">
            <a:defRPr sz="700"/>
          </a:lvl9pPr>
        </a:lstStyle>
        <a:p>
          <a:pPr lvl="0" algn="ctr">
            <a:lnSpc>
              <a:spcPct val="100000"/>
            </a:lnSpc>
            <a:spcBef>
              <a:spcPct val="0"/>
            </a:spcBef>
            <a:spcAft>
              <a:spcPct val="35000"/>
            </a:spcAft>
          </a:pPr>
          <a:r>
            <a:rPr lang="en-US" dirty="0">
              <a:solidFill>
                <a:schemeClr val="dk1"/>
              </a:solidFill>
              <a:latin typeface="Calibri" panose="020F0502020204030204" pitchFamily="34" charset="0"/>
            </a:rPr>
            <a:t>Mapping portfolio style with outlook</a:t>
          </a:r>
          <a:endParaRPr>
            <a:solidFill>
              <a:schemeClr val="dk1"/>
            </a:solidFill>
          </a:endParaRPr>
        </a:p>
      </dsp:txBody>
      <dsp:txXfrm>
        <a:off x="2524851" y="2673726"/>
        <a:ext cx="1147659" cy="765489"/>
      </dsp:txXfrm>
    </dsp:sp>
    <dsp:sp modelId="{AF76CFD8-02C8-4441-8215-EE5E775F4874}">
      <dsp:nvSpPr>
        <dsp:cNvPr id="10" name="Oval 9"/>
        <dsp:cNvSpPr/>
      </dsp:nvSpPr>
      <dsp:spPr bwMode="white">
        <a:xfrm>
          <a:off x="1912766" y="836706"/>
          <a:ext cx="765106" cy="765106"/>
        </a:xfrm>
        <a:prstGeom prst="ellipse">
          <a:avLst/>
        </a:prstGeom>
      </dsp:spPr>
      <dsp:style>
        <a:lnRef idx="2">
          <a:schemeClr val="lt1"/>
        </a:lnRef>
        <a:fillRef idx="1">
          <a:schemeClr val="accent1"/>
        </a:fillRef>
        <a:effectRef idx="0">
          <a:scrgbClr r="0" g="0" b="0"/>
        </a:effectRef>
        <a:fontRef idx="minor">
          <a:schemeClr val="lt1"/>
        </a:fontRef>
      </dsp:style>
      <dsp:txBody>
        <a:bodyPr lIns="0" tIns="0" rIns="0" bIns="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sz="1000" dirty="0">
              <a:latin typeface="Calibri" panose="020F0502020204030204" pitchFamily="34" charset="0"/>
            </a:rPr>
            <a:t>Insight</a:t>
          </a:r>
        </a:p>
      </dsp:txBody>
      <dsp:txXfrm>
        <a:off x="1912766" y="836706"/>
        <a:ext cx="765106" cy="765106"/>
      </dsp:txXfrm>
    </dsp:sp>
  </dsp:spTree>
</dsp:drawing>
</file>

<file path=ppt/diagrams/drawing5.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Group 1"/>
      <dsp:cNvGrpSpPr/>
    </dsp:nvGrpSpPr>
    <dsp:grpSpPr>
      <a:xfrm>
        <a:off x="0" y="0"/>
        <a:ext cx="7832243" cy="863834"/>
        <a:chOff x="0" y="0"/>
        <a:chExt cx="7832243" cy="863834"/>
      </a:xfrm>
    </dsp:grpSpPr>
    <dsp:sp modelId="{8374A314-3CC7-4B24-8DA2-29A96E9F5802}">
      <dsp:nvSpPr>
        <dsp:cNvPr id="3" name="Rounded Rectangle 2"/>
        <dsp:cNvSpPr/>
      </dsp:nvSpPr>
      <dsp:spPr bwMode="white">
        <a:xfrm>
          <a:off x="0" y="0"/>
          <a:ext cx="2061117" cy="863834"/>
        </a:xfrm>
        <a:prstGeom prst="roundRect">
          <a:avLst>
            <a:gd name="adj" fmla="val 10000"/>
          </a:avLst>
        </a:prstGeom>
        <a:solidFill>
          <a:schemeClr val="bg1">
            <a:lumMod val="95000"/>
          </a:schemeClr>
        </a:solidFill>
      </dsp:spPr>
      <dsp:style>
        <a:lnRef idx="2">
          <a:schemeClr val="lt1"/>
        </a:lnRef>
        <a:fillRef idx="1">
          <a:schemeClr val="accent1"/>
        </a:fillRef>
        <a:effectRef idx="0">
          <a:scrgbClr r="0" g="0" b="0"/>
        </a:effectRef>
        <a:fontRef idx="minor">
          <a:schemeClr val="lt1"/>
        </a:fontRef>
      </dsp:style>
      <dsp:txBody>
        <a:bodyPr lIns="41910" tIns="41910" rIns="41910" bIns="4191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IN" sz="1100" dirty="0">
              <a:solidFill>
                <a:schemeClr val="tx1"/>
              </a:solidFill>
              <a:latin typeface="Calibri" panose="020F0502020204030204" pitchFamily="34" charset="0"/>
              <a:cs typeface="Calibri" panose="020F0502020204030204" pitchFamily="34" charset="0"/>
            </a:rPr>
            <a:t>Correlation </a:t>
          </a:r>
          <a:endParaRPr lang="en-IN" sz="1100" dirty="0">
            <a:solidFill>
              <a:schemeClr val="tx1"/>
            </a:solidFill>
            <a:latin typeface="Calibri" panose="020F0502020204030204" pitchFamily="34" charset="0"/>
            <a:cs typeface="Calibri" panose="020F0502020204030204" pitchFamily="34" charset="0"/>
          </a:endParaRPr>
        </a:p>
        <a:p>
          <a:pPr lvl="0">
            <a:lnSpc>
              <a:spcPct val="100000"/>
            </a:lnSpc>
            <a:spcBef>
              <a:spcPct val="0"/>
            </a:spcBef>
            <a:spcAft>
              <a:spcPct val="35000"/>
            </a:spcAft>
          </a:pPr>
          <a:r>
            <a:rPr lang="en-IN" sz="1100" dirty="0">
              <a:solidFill>
                <a:schemeClr val="tx1"/>
              </a:solidFill>
              <a:latin typeface="Calibri" panose="020F0502020204030204" pitchFamily="34" charset="0"/>
              <a:cs typeface="Calibri" panose="020F0502020204030204" pitchFamily="34" charset="0"/>
            </a:rPr>
            <a:t>(Returns, Volatility and Beta</a:t>
          </a:r>
          <a:r>
            <a:rPr lang="en-IN" sz="1200" dirty="0">
              <a:solidFill>
                <a:schemeClr val="tx1"/>
              </a:solidFill>
              <a:latin typeface="Calibri" panose="020F0502020204030204" pitchFamily="34" charset="0"/>
              <a:cs typeface="Calibri" panose="020F0502020204030204" pitchFamily="34" charset="0"/>
            </a:rPr>
            <a:t>)</a:t>
          </a:r>
        </a:p>
      </dsp:txBody>
      <dsp:txXfrm>
        <a:off x="0" y="0"/>
        <a:ext cx="2061117" cy="863834"/>
      </dsp:txXfrm>
    </dsp:sp>
    <dsp:sp modelId="{CA6A36EA-36D3-4EB3-8C74-DE355719CC86}">
      <dsp:nvSpPr>
        <dsp:cNvPr id="4" name="Right Arrow 3"/>
        <dsp:cNvSpPr/>
      </dsp:nvSpPr>
      <dsp:spPr bwMode="white">
        <a:xfrm>
          <a:off x="2254862" y="176339"/>
          <a:ext cx="436957" cy="511157"/>
        </a:xfrm>
        <a:prstGeom prst="rightArrow">
          <a:avLst>
            <a:gd name="adj1" fmla="val 60000"/>
            <a:gd name="adj2" fmla="val 50000"/>
          </a:avLst>
        </a:prstGeom>
      </dsp:spPr>
      <dsp:style>
        <a:lnRef idx="0">
          <a:schemeClr val="accent1">
            <a:tint val="60000"/>
          </a:schemeClr>
        </a:lnRef>
        <a:fillRef idx="1">
          <a:schemeClr val="accent1">
            <a:tint val="60000"/>
          </a:schemeClr>
        </a:fillRef>
        <a:effectRef idx="0">
          <a:scrgbClr r="0" g="0" b="0"/>
        </a:effectRef>
        <a:fontRef idx="minor">
          <a:schemeClr val="lt1"/>
        </a:fontRef>
      </dsp:style>
      <dsp:txBody>
        <a:bodyPr anchor="ctr"/>
        <a:lstStyle>
          <a:lvl1pPr algn="ctr"/>
          <a:lvl2pPr algn="ctr"/>
          <a:lvl3pPr algn="ctr"/>
          <a:lvl4pPr algn="ctr"/>
          <a:lvl5pPr algn="ctr"/>
          <a:lvl6pPr algn="ctr"/>
          <a:lvl7pPr algn="ctr"/>
          <a:lvl8pPr algn="ctr"/>
          <a:lvl9pPr algn="ctr"/>
        </a:lstStyle>
        <a:p>
          <a:pPr lvl="0">
            <a:lnSpc>
              <a:spcPct val="100000"/>
            </a:lnSpc>
            <a:spcBef>
              <a:spcPct val="0"/>
            </a:spcBef>
            <a:spcAft>
              <a:spcPct val="35000"/>
            </a:spcAft>
          </a:pPr>
          <a:endParaRPr lang="en-IN" sz="1200">
            <a:latin typeface="Calibri" panose="020F0502020204030204" pitchFamily="34" charset="0"/>
            <a:cs typeface="Calibri" panose="020F0502020204030204" pitchFamily="34" charset="0"/>
          </a:endParaRPr>
        </a:p>
      </dsp:txBody>
      <dsp:txXfrm>
        <a:off x="2254862" y="176339"/>
        <a:ext cx="436957" cy="511157"/>
      </dsp:txXfrm>
    </dsp:sp>
    <dsp:sp modelId="{01A96C5F-756B-4A23-B040-C1BDBF5A6AD0}">
      <dsp:nvSpPr>
        <dsp:cNvPr id="5" name="Rounded Rectangle 4"/>
        <dsp:cNvSpPr/>
      </dsp:nvSpPr>
      <dsp:spPr bwMode="white">
        <a:xfrm>
          <a:off x="2885563" y="0"/>
          <a:ext cx="2061117" cy="863834"/>
        </a:xfrm>
        <a:prstGeom prst="roundRect">
          <a:avLst>
            <a:gd name="adj" fmla="val 10000"/>
          </a:avLst>
        </a:prstGeom>
      </dsp:spPr>
      <dsp:style>
        <a:lnRef idx="2">
          <a:schemeClr val="lt1"/>
        </a:lnRef>
        <a:fillRef idx="1">
          <a:schemeClr val="accent1"/>
        </a:fillRef>
        <a:effectRef idx="0">
          <a:scrgbClr r="0" g="0" b="0"/>
        </a:effectRef>
        <a:fontRef idx="minor">
          <a:schemeClr val="lt1"/>
        </a:fontRef>
      </dsp:style>
      <dsp:txBody>
        <a:bodyPr lIns="38100" tIns="38100" rIns="38100" bIns="3810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IN" sz="1000" dirty="0">
              <a:latin typeface="Calibri" panose="020F0502020204030204" pitchFamily="34" charset="0"/>
              <a:cs typeface="Calibri" panose="020F0502020204030204" pitchFamily="34" charset="0"/>
            </a:rPr>
            <a:t>Portfolio Holdings  &amp; Allocation to various sectors </a:t>
          </a:r>
        </a:p>
      </dsp:txBody>
      <dsp:txXfrm>
        <a:off x="2885563" y="0"/>
        <a:ext cx="2061117" cy="863834"/>
      </dsp:txXfrm>
    </dsp:sp>
    <dsp:sp modelId="{62BA4AC0-9C20-4B2C-9061-20AF2980C983}">
      <dsp:nvSpPr>
        <dsp:cNvPr id="6" name="Right Arrow 5"/>
        <dsp:cNvSpPr/>
      </dsp:nvSpPr>
      <dsp:spPr bwMode="white">
        <a:xfrm>
          <a:off x="5140425" y="176339"/>
          <a:ext cx="436957" cy="511157"/>
        </a:xfrm>
        <a:prstGeom prst="rightArrow">
          <a:avLst>
            <a:gd name="adj1" fmla="val 60000"/>
            <a:gd name="adj2" fmla="val 50000"/>
          </a:avLst>
        </a:prstGeom>
      </dsp:spPr>
      <dsp:style>
        <a:lnRef idx="0">
          <a:schemeClr val="accent1">
            <a:tint val="60000"/>
          </a:schemeClr>
        </a:lnRef>
        <a:fillRef idx="1">
          <a:schemeClr val="accent1">
            <a:tint val="60000"/>
          </a:schemeClr>
        </a:fillRef>
        <a:effectRef idx="0">
          <a:scrgbClr r="0" g="0" b="0"/>
        </a:effectRef>
        <a:fontRef idx="minor">
          <a:schemeClr val="lt1"/>
        </a:fontRef>
      </dsp:style>
      <dsp:txBody>
        <a:bodyPr anchor="ctr"/>
        <a:lstStyle>
          <a:lvl1pPr algn="ctr"/>
          <a:lvl2pPr algn="ctr"/>
          <a:lvl3pPr algn="ctr"/>
          <a:lvl4pPr algn="ctr"/>
          <a:lvl5pPr algn="ctr"/>
          <a:lvl6pPr algn="ctr"/>
          <a:lvl7pPr algn="ctr"/>
          <a:lvl8pPr algn="ctr"/>
          <a:lvl9pPr algn="ctr"/>
        </a:lstStyle>
        <a:p>
          <a:pPr lvl="0">
            <a:lnSpc>
              <a:spcPct val="100000"/>
            </a:lnSpc>
            <a:spcBef>
              <a:spcPct val="0"/>
            </a:spcBef>
            <a:spcAft>
              <a:spcPct val="35000"/>
            </a:spcAft>
          </a:pPr>
          <a:endParaRPr lang="en-IN" sz="1200">
            <a:latin typeface="Calibri" panose="020F0502020204030204" pitchFamily="34" charset="0"/>
            <a:cs typeface="Calibri" panose="020F0502020204030204" pitchFamily="34" charset="0"/>
          </a:endParaRPr>
        </a:p>
      </dsp:txBody>
      <dsp:txXfrm>
        <a:off x="5140425" y="176339"/>
        <a:ext cx="436957" cy="511157"/>
      </dsp:txXfrm>
    </dsp:sp>
    <dsp:sp modelId="{3BD33809-17AE-498A-892E-90725C45DC96}">
      <dsp:nvSpPr>
        <dsp:cNvPr id="7" name="Rounded Rectangle 6"/>
        <dsp:cNvSpPr/>
      </dsp:nvSpPr>
      <dsp:spPr bwMode="white">
        <a:xfrm>
          <a:off x="5771126" y="0"/>
          <a:ext cx="2061117" cy="863834"/>
        </a:xfrm>
        <a:prstGeom prst="roundRect">
          <a:avLst>
            <a:gd name="adj" fmla="val 10000"/>
          </a:avLst>
        </a:prstGeom>
        <a:solidFill>
          <a:schemeClr val="bg1">
            <a:lumMod val="95000"/>
          </a:schemeClr>
        </a:solidFill>
      </dsp:spPr>
      <dsp:style>
        <a:lnRef idx="2">
          <a:schemeClr val="lt1"/>
        </a:lnRef>
        <a:fillRef idx="1">
          <a:schemeClr val="accent1"/>
        </a:fillRef>
        <a:effectRef idx="0">
          <a:scrgbClr r="0" g="0" b="0"/>
        </a:effectRef>
        <a:fontRef idx="minor">
          <a:schemeClr val="lt1"/>
        </a:fontRef>
      </dsp:style>
      <dsp:txBody>
        <a:bodyPr lIns="41910" tIns="41910" rIns="41910" bIns="4191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IN" sz="1100" dirty="0">
              <a:solidFill>
                <a:schemeClr val="tx1"/>
              </a:solidFill>
              <a:latin typeface="Calibri" panose="020F0502020204030204" pitchFamily="34" charset="0"/>
              <a:cs typeface="Calibri" panose="020F0502020204030204" pitchFamily="34" charset="0"/>
            </a:rPr>
            <a:t>Financial Metrics of the portfolio (ROEs, Net Profits and Valuations)</a:t>
          </a:r>
        </a:p>
      </dsp:txBody>
      <dsp:txXfrm>
        <a:off x="5771126" y="0"/>
        <a:ext cx="2061117" cy="863834"/>
      </dsp:txXfrm>
    </dsp:sp>
  </dsp:spTree>
</dsp:drawing>
</file>

<file path=ppt/diagrams/drawing6.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Group 1"/>
      <dsp:cNvGrpSpPr/>
    </dsp:nvGrpSpPr>
    <dsp:grpSpPr>
      <a:xfrm>
        <a:off x="0" y="0"/>
        <a:ext cx="7667806" cy="1377391"/>
        <a:chOff x="0" y="0"/>
        <a:chExt cx="7667806" cy="1377391"/>
      </a:xfrm>
    </dsp:grpSpPr>
    <dsp:sp modelId="{DFD0DBF3-844F-48DD-B5A6-9F807548FE5D}">
      <dsp:nvSpPr>
        <dsp:cNvPr id="3" name="Oval 2"/>
        <dsp:cNvSpPr/>
      </dsp:nvSpPr>
      <dsp:spPr bwMode="white">
        <a:xfrm>
          <a:off x="745241" y="0"/>
          <a:ext cx="1377391" cy="1377391"/>
        </a:xfrm>
        <a:prstGeom prst="ellipse">
          <a:avLst/>
        </a:prstGeom>
        <a:solidFill>
          <a:schemeClr val="bg1"/>
        </a:solidFill>
        <a:ln>
          <a:solidFill>
            <a:srgbClr val="002060"/>
          </a:solidFill>
        </a:ln>
      </dsp:spPr>
      <dsp:style>
        <a:lnRef idx="2">
          <a:schemeClr val="lt1"/>
        </a:lnRef>
        <a:fillRef idx="1">
          <a:schemeClr val="accent1"/>
        </a:fillRef>
        <a:effectRef idx="0">
          <a:scrgbClr r="0" g="0" b="0"/>
        </a:effectRef>
        <a:fontRef idx="minor">
          <a:schemeClr val="lt1"/>
        </a:fontRef>
      </dsp:style>
      <dsp:txBody>
        <a:bodyPr lIns="17780" tIns="17780" rIns="17780" bIns="1778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sz="1400" dirty="0">
              <a:solidFill>
                <a:schemeClr val="tx1"/>
              </a:solidFill>
              <a:latin typeface="Calibri" panose="020F0502020204030204" pitchFamily="34" charset="0"/>
            </a:rPr>
            <a:t>Active Managers</a:t>
          </a:r>
          <a:endParaRPr lang="en-US" sz="1400" dirty="0">
            <a:solidFill>
              <a:schemeClr val="tx1"/>
            </a:solidFill>
            <a:latin typeface="Calibri" panose="020F0502020204030204" pitchFamily="34" charset="0"/>
          </a:endParaRPr>
        </a:p>
        <a:p>
          <a:pPr lvl="0">
            <a:lnSpc>
              <a:spcPct val="100000"/>
            </a:lnSpc>
            <a:spcBef>
              <a:spcPct val="0"/>
            </a:spcBef>
            <a:spcAft>
              <a:spcPct val="35000"/>
            </a:spcAft>
          </a:pPr>
          <a:r>
            <a:rPr lang="en-US" sz="1400" dirty="0">
              <a:solidFill>
                <a:schemeClr val="tx1"/>
              </a:solidFill>
              <a:latin typeface="Calibri" panose="020F0502020204030204" pitchFamily="34" charset="0"/>
            </a:rPr>
            <a:t>(70%)</a:t>
          </a:r>
        </a:p>
      </dsp:txBody>
      <dsp:txXfrm>
        <a:off x="745241" y="0"/>
        <a:ext cx="1377391" cy="1377391"/>
      </dsp:txXfrm>
    </dsp:sp>
    <dsp:sp modelId="{94094496-CD74-49E7-9204-1D06E1C79AB1}">
      <dsp:nvSpPr>
        <dsp:cNvPr id="4" name="Plus 3"/>
        <dsp:cNvSpPr/>
      </dsp:nvSpPr>
      <dsp:spPr bwMode="white">
        <a:xfrm>
          <a:off x="2234477" y="289252"/>
          <a:ext cx="798887" cy="798887"/>
        </a:xfrm>
        <a:prstGeom prst="mathPlus">
          <a:avLst/>
        </a:prstGeom>
        <a:solidFill>
          <a:schemeClr val="bg1">
            <a:lumMod val="95000"/>
          </a:schemeClr>
        </a:solidFill>
      </dsp:spPr>
      <dsp:style>
        <a:lnRef idx="0">
          <a:schemeClr val="accent1">
            <a:tint val="60000"/>
          </a:schemeClr>
        </a:lnRef>
        <a:fillRef idx="1">
          <a:schemeClr val="accent1">
            <a:tint val="60000"/>
          </a:schemeClr>
        </a:fillRef>
        <a:effectRef idx="0">
          <a:scrgbClr r="0" g="0" b="0"/>
        </a:effectRef>
        <a:fontRef idx="minor">
          <a:schemeClr val="lt1"/>
        </a:fontRef>
      </dsp:style>
      <dsp:txBody>
        <a:bodyPr lIns="0" tIns="0" rIns="0" bIns="0" anchor="ctr"/>
        <a:lstStyle>
          <a:lvl1pPr algn="ctr">
            <a:defRPr sz="1000"/>
          </a:lvl1pPr>
          <a:lvl2pPr marL="57150" indent="-57150" algn="ctr">
            <a:defRPr sz="800"/>
          </a:lvl2pPr>
          <a:lvl3pPr marL="114300" indent="-57150" algn="ctr">
            <a:defRPr sz="800"/>
          </a:lvl3pPr>
          <a:lvl4pPr marL="171450" indent="-57150" algn="ctr">
            <a:defRPr sz="800"/>
          </a:lvl4pPr>
          <a:lvl5pPr marL="228600" indent="-57150" algn="ctr">
            <a:defRPr sz="800"/>
          </a:lvl5pPr>
          <a:lvl6pPr marL="285750" indent="-57150" algn="ctr">
            <a:defRPr sz="800"/>
          </a:lvl6pPr>
          <a:lvl7pPr marL="342900" indent="-57150" algn="ctr">
            <a:defRPr sz="800"/>
          </a:lvl7pPr>
          <a:lvl8pPr marL="400050" indent="-57150" algn="ctr">
            <a:defRPr sz="800"/>
          </a:lvl8pPr>
          <a:lvl9pPr marL="457200" indent="-57150" algn="ctr">
            <a:defRPr sz="800"/>
          </a:lvl9pPr>
        </a:lstStyle>
        <a:p>
          <a:pPr lvl="0">
            <a:lnSpc>
              <a:spcPct val="100000"/>
            </a:lnSpc>
            <a:spcBef>
              <a:spcPct val="0"/>
            </a:spcBef>
            <a:spcAft>
              <a:spcPct val="35000"/>
            </a:spcAft>
          </a:pPr>
          <a:endParaRPr lang="en-US"/>
        </a:p>
      </dsp:txBody>
      <dsp:txXfrm>
        <a:off x="2234477" y="289252"/>
        <a:ext cx="798887" cy="798887"/>
      </dsp:txXfrm>
    </dsp:sp>
    <dsp:sp modelId="{A2137657-543B-4139-8965-E0497575C433}">
      <dsp:nvSpPr>
        <dsp:cNvPr id="5" name="Oval 4"/>
        <dsp:cNvSpPr/>
      </dsp:nvSpPr>
      <dsp:spPr bwMode="white">
        <a:xfrm>
          <a:off x="3145207" y="0"/>
          <a:ext cx="1377391" cy="1377391"/>
        </a:xfrm>
        <a:prstGeom prst="ellipse">
          <a:avLst/>
        </a:prstGeom>
        <a:solidFill>
          <a:schemeClr val="bg1"/>
        </a:solidFill>
        <a:ln>
          <a:solidFill>
            <a:srgbClr val="002060"/>
          </a:solidFill>
        </a:ln>
      </dsp:spPr>
      <dsp:style>
        <a:lnRef idx="2">
          <a:schemeClr val="lt1"/>
        </a:lnRef>
        <a:fillRef idx="1">
          <a:schemeClr val="accent1"/>
        </a:fillRef>
        <a:effectRef idx="0">
          <a:scrgbClr r="0" g="0" b="0"/>
        </a:effectRef>
        <a:fontRef idx="minor">
          <a:schemeClr val="lt1"/>
        </a:fontRef>
      </dsp:style>
      <dsp:txBody>
        <a:bodyPr lIns="19050" tIns="19050" rIns="19050" bIns="1905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sz="1500" dirty="0">
              <a:solidFill>
                <a:schemeClr val="tx1"/>
              </a:solidFill>
              <a:latin typeface="Calibri" panose="020F0502020204030204" pitchFamily="34" charset="0"/>
            </a:rPr>
            <a:t>ETFs</a:t>
          </a:r>
          <a:endParaRPr lang="en-US" sz="1500" dirty="0">
            <a:solidFill>
              <a:schemeClr val="tx1"/>
            </a:solidFill>
            <a:latin typeface="Calibri" panose="020F0502020204030204" pitchFamily="34" charset="0"/>
          </a:endParaRPr>
        </a:p>
        <a:p>
          <a:pPr lvl="0">
            <a:lnSpc>
              <a:spcPct val="100000"/>
            </a:lnSpc>
            <a:spcBef>
              <a:spcPct val="0"/>
            </a:spcBef>
            <a:spcAft>
              <a:spcPct val="35000"/>
            </a:spcAft>
          </a:pPr>
          <a:r>
            <a:rPr lang="en-US" sz="1500" dirty="0">
              <a:solidFill>
                <a:schemeClr val="tx1"/>
              </a:solidFill>
              <a:latin typeface="Calibri" panose="020F0502020204030204" pitchFamily="34" charset="0"/>
            </a:rPr>
            <a:t>(30%)</a:t>
          </a:r>
        </a:p>
      </dsp:txBody>
      <dsp:txXfrm>
        <a:off x="3145207" y="0"/>
        <a:ext cx="1377391" cy="1377391"/>
      </dsp:txXfrm>
    </dsp:sp>
    <dsp:sp modelId="{B4F58B13-6EA7-4254-8F19-DEAE52C80238}">
      <dsp:nvSpPr>
        <dsp:cNvPr id="6" name="Equal 5"/>
        <dsp:cNvSpPr/>
      </dsp:nvSpPr>
      <dsp:spPr bwMode="white">
        <a:xfrm>
          <a:off x="4634443" y="289252"/>
          <a:ext cx="798887" cy="798887"/>
        </a:xfrm>
        <a:prstGeom prst="mathEqual">
          <a:avLst/>
        </a:prstGeom>
        <a:solidFill>
          <a:schemeClr val="bg1">
            <a:lumMod val="95000"/>
          </a:schemeClr>
        </a:solidFill>
      </dsp:spPr>
      <dsp:style>
        <a:lnRef idx="0">
          <a:schemeClr val="accent1">
            <a:tint val="60000"/>
          </a:schemeClr>
        </a:lnRef>
        <a:fillRef idx="1">
          <a:schemeClr val="accent1">
            <a:tint val="60000"/>
          </a:schemeClr>
        </a:fillRef>
        <a:effectRef idx="0">
          <a:scrgbClr r="0" g="0" b="0"/>
        </a:effectRef>
        <a:fontRef idx="minor">
          <a:schemeClr val="lt1"/>
        </a:fontRef>
      </dsp:style>
      <dsp:txBody>
        <a:bodyPr lIns="0" tIns="0" rIns="0" bIns="0" anchor="ctr"/>
        <a:lstStyle>
          <a:lvl1pPr algn="ctr">
            <a:defRPr sz="2500"/>
          </a:lvl1pPr>
          <a:lvl2pPr marL="228600" indent="-228600" algn="ctr">
            <a:defRPr sz="2000"/>
          </a:lvl2pPr>
          <a:lvl3pPr marL="457200" indent="-228600" algn="ctr">
            <a:defRPr sz="2000"/>
          </a:lvl3pPr>
          <a:lvl4pPr marL="685800" indent="-228600" algn="ctr">
            <a:defRPr sz="2000"/>
          </a:lvl4pPr>
          <a:lvl5pPr marL="914400" indent="-228600" algn="ctr">
            <a:defRPr sz="2000"/>
          </a:lvl5pPr>
          <a:lvl6pPr marL="1143000" indent="-228600" algn="ctr">
            <a:defRPr sz="2000"/>
          </a:lvl6pPr>
          <a:lvl7pPr marL="1371600" indent="-228600" algn="ctr">
            <a:defRPr sz="2000"/>
          </a:lvl7pPr>
          <a:lvl8pPr marL="1600200" indent="-228600" algn="ctr">
            <a:defRPr sz="2000"/>
          </a:lvl8pPr>
          <a:lvl9pPr marL="1828800" indent="-228600" algn="ctr">
            <a:defRPr sz="2000"/>
          </a:lvl9pPr>
        </a:lstStyle>
        <a:p>
          <a:pPr lvl="0">
            <a:lnSpc>
              <a:spcPct val="100000"/>
            </a:lnSpc>
            <a:spcBef>
              <a:spcPct val="0"/>
            </a:spcBef>
            <a:spcAft>
              <a:spcPct val="35000"/>
            </a:spcAft>
          </a:pPr>
          <a:endParaRPr lang="en-US"/>
        </a:p>
      </dsp:txBody>
      <dsp:txXfrm>
        <a:off x="4634443" y="289252"/>
        <a:ext cx="798887" cy="798887"/>
      </dsp:txXfrm>
    </dsp:sp>
    <dsp:sp modelId="{99967516-C5BE-41C1-86A7-89D87C2EA58A}">
      <dsp:nvSpPr>
        <dsp:cNvPr id="7" name="Oval 6"/>
        <dsp:cNvSpPr/>
      </dsp:nvSpPr>
      <dsp:spPr bwMode="white">
        <a:xfrm>
          <a:off x="5545174" y="0"/>
          <a:ext cx="1377391" cy="1377391"/>
        </a:xfrm>
        <a:prstGeom prst="ellipse">
          <a:avLst/>
        </a:prstGeom>
        <a:solidFill>
          <a:srgbClr val="00A290"/>
        </a:solidFill>
        <a:ln>
          <a:solidFill>
            <a:schemeClr val="bg1"/>
          </a:solidFill>
        </a:ln>
      </dsp:spPr>
      <dsp:style>
        <a:lnRef idx="2">
          <a:schemeClr val="lt1"/>
        </a:lnRef>
        <a:fillRef idx="1">
          <a:schemeClr val="accent1"/>
        </a:fillRef>
        <a:effectRef idx="0">
          <a:scrgbClr r="0" g="0" b="0"/>
        </a:effectRef>
        <a:fontRef idx="minor">
          <a:schemeClr val="lt1"/>
        </a:fontRef>
      </dsp:style>
      <dsp:txBody>
        <a:bodyPr lIns="19050" tIns="19050" rIns="19050" bIns="1905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sz="1500" dirty="0">
              <a:solidFill>
                <a:schemeClr val="bg1">
                  <a:lumMod val="95000"/>
                </a:schemeClr>
              </a:solidFill>
              <a:latin typeface="Calibri" panose="020F0502020204030204" pitchFamily="34" charset="0"/>
            </a:rPr>
            <a:t>CA Multi-Manager Portfolio</a:t>
          </a:r>
        </a:p>
      </dsp:txBody>
      <dsp:txXfrm>
        <a:off x="5545174" y="0"/>
        <a:ext cx="1377391" cy="1377391"/>
      </dsp:txXfrm>
    </dsp:sp>
  </dsp:spTree>
</dsp:drawing>
</file>

<file path=ppt/diagrams/layout1.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nodeVertAlign" val="t"/>
          <dgm:param type="fallback" val="2D"/>
        </dgm:alg>
      </dgm:if>
      <dgm:else name="Name2">
        <dgm:alg type="lin">
          <dgm:param type="linDir" val="fromR"/>
          <dgm:param type="nodeVertAlign" val="t"/>
          <dgm:param type="fallback" val="2D"/>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nodeVertAlign" val="t"/>
          <dgm:param type="fallback" val="2D"/>
        </dgm:alg>
      </dgm:if>
      <dgm:else name="Name2">
        <dgm:alg type="lin">
          <dgm:param type="linDir" val="fromR"/>
          <dgm:param type="nodeVertAlign" val="t"/>
          <dgm:param type="fallback" val="2D"/>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nodeVertAlign" val="t"/>
          <dgm:param type="fallback" val="2D"/>
        </dgm:alg>
      </dgm:if>
      <dgm:else name="Name2">
        <dgm:alg type="lin">
          <dgm:param type="linDir" val="fromR"/>
          <dgm:param type="nodeVertAlign" val="t"/>
          <dgm:param type="fallback" val="2D"/>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nodeVertAlign" val="t"/>
          <dgm:param type="fallback" val="2D"/>
        </dgm:alg>
      </dgm:if>
      <dgm:else name="Name2">
        <dgm:alg type="lin">
          <dgm:param type="linDir" val="fromR"/>
          <dgm:param type="nodeVertAlign" val="t"/>
          <dgm:param type="fallback" val="2D"/>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rSet qsTypeId="urn:microsoft.com/office/officeart/2005/8/quickstyle/simple5"/>
        </dgm:pt>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46400" cy="496888"/>
          </a:xfrm>
          <a:prstGeom prst="rect">
            <a:avLst/>
          </a:prstGeom>
        </p:spPr>
        <p:txBody>
          <a:bodyPr vert="horz" lIns="95559" tIns="47780" rIns="95559" bIns="47780" rtlCol="0"/>
          <a:lstStyle>
            <a:lvl1pPr algn="l" eaLnBrk="1" fontAlgn="auto" latinLnBrk="1" hangingPunct="1">
              <a:spcBef>
                <a:spcPts val="0"/>
              </a:spcBef>
              <a:spcAft>
                <a:spcPts val="0"/>
              </a:spcAft>
              <a:defRPr sz="1300">
                <a:latin typeface="+mn-lt"/>
                <a:ea typeface="+mn-ea"/>
                <a:cs typeface="+mn-cs"/>
              </a:defRPr>
            </a:lvl1pPr>
          </a:lstStyle>
          <a:p>
            <a:pPr>
              <a:defRPr/>
            </a:pPr>
            <a:endParaRPr lang="ko-KR" altLang="en-US"/>
          </a:p>
        </p:txBody>
      </p:sp>
      <p:sp>
        <p:nvSpPr>
          <p:cNvPr id="3" name="날짜 개체 틀 2"/>
          <p:cNvSpPr>
            <a:spLocks noGrp="1"/>
          </p:cNvSpPr>
          <p:nvPr>
            <p:ph type="dt" idx="1"/>
          </p:nvPr>
        </p:nvSpPr>
        <p:spPr>
          <a:xfrm>
            <a:off x="3849688" y="0"/>
            <a:ext cx="2946400" cy="496888"/>
          </a:xfrm>
          <a:prstGeom prst="rect">
            <a:avLst/>
          </a:prstGeom>
        </p:spPr>
        <p:txBody>
          <a:bodyPr vert="horz" lIns="95559" tIns="47780" rIns="95559" bIns="47780" rtlCol="0"/>
          <a:lstStyle>
            <a:lvl1pPr algn="r" eaLnBrk="1" fontAlgn="auto" latinLnBrk="1" hangingPunct="1">
              <a:spcBef>
                <a:spcPts val="0"/>
              </a:spcBef>
              <a:spcAft>
                <a:spcPts val="0"/>
              </a:spcAft>
              <a:defRPr sz="1300">
                <a:latin typeface="+mn-lt"/>
                <a:ea typeface="+mn-ea"/>
                <a:cs typeface="+mn-cs"/>
              </a:defRPr>
            </a:lvl1pPr>
          </a:lstStyle>
          <a:p>
            <a:pPr>
              <a:defRPr/>
            </a:pPr>
            <a:fld id="{7813DC21-1F74-483C-BFAF-6B482CD94654}" type="datetimeFigureOut">
              <a:rPr lang="ko-KR" altLang="en-US"/>
            </a:fld>
            <a:endParaRPr lang="ko-KR" altLang="en-US" dirty="0"/>
          </a:p>
        </p:txBody>
      </p:sp>
      <p:sp>
        <p:nvSpPr>
          <p:cNvPr id="4" name="슬라이드 이미지 개체 틀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5559" tIns="47780" rIns="95559" bIns="47780" rtlCol="0" anchor="ctr"/>
          <a:lstStyle/>
          <a:p>
            <a:pPr lvl="0"/>
            <a:endParaRPr lang="ko-KR" altLang="en-US" noProof="0" dirty="0"/>
          </a:p>
        </p:txBody>
      </p:sp>
      <p:sp>
        <p:nvSpPr>
          <p:cNvPr id="5" name="슬라이드 노트 개체 틀 4"/>
          <p:cNvSpPr>
            <a:spLocks noGrp="1"/>
          </p:cNvSpPr>
          <p:nvPr>
            <p:ph type="body" sz="quarter" idx="3"/>
          </p:nvPr>
        </p:nvSpPr>
        <p:spPr>
          <a:xfrm>
            <a:off x="679450" y="4714875"/>
            <a:ext cx="5438775" cy="4467225"/>
          </a:xfrm>
          <a:prstGeom prst="rect">
            <a:avLst/>
          </a:prstGeom>
        </p:spPr>
        <p:txBody>
          <a:bodyPr vert="horz" lIns="95559" tIns="47780" rIns="95559" bIns="47780" rtlCol="0"/>
          <a:lstStyle/>
          <a:p>
            <a:pPr lvl="0"/>
            <a:r>
              <a:rPr lang="ko-KR" altLang="en-US" noProof="0"/>
              <a:t>마스터 텍스트 스타일을 편집합니다</a:t>
            </a:r>
            <a:endParaRPr lang="ko-KR" altLang="en-US" noProof="0"/>
          </a:p>
          <a:p>
            <a:pPr lvl="1"/>
            <a:r>
              <a:rPr lang="ko-KR" altLang="en-US" noProof="0"/>
              <a:t>둘째 수준</a:t>
            </a:r>
            <a:endParaRPr lang="ko-KR" altLang="en-US" noProof="0"/>
          </a:p>
          <a:p>
            <a:pPr lvl="2"/>
            <a:r>
              <a:rPr lang="ko-KR" altLang="en-US" noProof="0"/>
              <a:t>셋째 수준</a:t>
            </a:r>
            <a:endParaRPr lang="ko-KR" altLang="en-US" noProof="0"/>
          </a:p>
          <a:p>
            <a:pPr lvl="3"/>
            <a:r>
              <a:rPr lang="ko-KR" altLang="en-US" noProof="0"/>
              <a:t>넷째 수준</a:t>
            </a:r>
            <a:endParaRPr lang="ko-KR" altLang="en-US" noProof="0"/>
          </a:p>
          <a:p>
            <a:pPr lvl="4"/>
            <a:r>
              <a:rPr lang="ko-KR" altLang="en-US" noProof="0"/>
              <a:t>다섯째 수준</a:t>
            </a:r>
            <a:endParaRPr lang="ko-KR" altLang="en-US" noProof="0"/>
          </a:p>
        </p:txBody>
      </p:sp>
      <p:sp>
        <p:nvSpPr>
          <p:cNvPr id="6" name="바닥글 개체 틀 5"/>
          <p:cNvSpPr>
            <a:spLocks noGrp="1"/>
          </p:cNvSpPr>
          <p:nvPr>
            <p:ph type="ftr" sz="quarter" idx="4"/>
          </p:nvPr>
        </p:nvSpPr>
        <p:spPr>
          <a:xfrm>
            <a:off x="0" y="9428163"/>
            <a:ext cx="2946400" cy="496887"/>
          </a:xfrm>
          <a:prstGeom prst="rect">
            <a:avLst/>
          </a:prstGeom>
        </p:spPr>
        <p:txBody>
          <a:bodyPr vert="horz" lIns="95559" tIns="47780" rIns="95559" bIns="47780" rtlCol="0" anchor="b"/>
          <a:lstStyle>
            <a:lvl1pPr algn="l" eaLnBrk="1" fontAlgn="auto" latinLnBrk="1" hangingPunct="1">
              <a:spcBef>
                <a:spcPts val="0"/>
              </a:spcBef>
              <a:spcAft>
                <a:spcPts val="0"/>
              </a:spcAft>
              <a:defRPr sz="1300">
                <a:latin typeface="+mn-lt"/>
                <a:ea typeface="+mn-ea"/>
                <a:cs typeface="+mn-cs"/>
              </a:defRPr>
            </a:lvl1pPr>
          </a:lstStyle>
          <a:p>
            <a:pPr>
              <a:defRPr/>
            </a:pPr>
            <a:endParaRPr lang="ko-KR" altLang="en-US"/>
          </a:p>
        </p:txBody>
      </p:sp>
      <p:sp>
        <p:nvSpPr>
          <p:cNvPr id="7" name="슬라이드 번호 개체 틀 6"/>
          <p:cNvSpPr>
            <a:spLocks noGrp="1"/>
          </p:cNvSpPr>
          <p:nvPr>
            <p:ph type="sldNum" sz="quarter" idx="5"/>
          </p:nvPr>
        </p:nvSpPr>
        <p:spPr>
          <a:xfrm>
            <a:off x="3849688" y="9428163"/>
            <a:ext cx="2946400" cy="496887"/>
          </a:xfrm>
          <a:prstGeom prst="rect">
            <a:avLst/>
          </a:prstGeom>
        </p:spPr>
        <p:txBody>
          <a:bodyPr vert="horz" wrap="square" lIns="95559" tIns="47780" rIns="95559" bIns="47780" numCol="1" anchor="b" anchorCtr="0" compatLnSpc="1"/>
          <a:lstStyle>
            <a:lvl1pPr algn="r" eaLnBrk="1" latinLnBrk="1" hangingPunct="1">
              <a:defRPr sz="1300">
                <a:latin typeface="Malgun Gothic" panose="020B0503020000020004" pitchFamily="34" charset="-127"/>
                <a:ea typeface="Malgun Gothic" panose="020B0503020000020004" pitchFamily="34" charset="-127"/>
              </a:defRPr>
            </a:lvl1pPr>
          </a:lstStyle>
          <a:p>
            <a:pPr>
              <a:defRPr/>
            </a:pPr>
            <a:fld id="{FD250454-FD20-45B0-B61D-4220078AA69D}" type="slidenum">
              <a:rPr lang="ko-KR" altLang="en-US"/>
            </a:fld>
            <a:endParaRPr lang="ko-KR" altLang="en-US"/>
          </a:p>
        </p:txBody>
      </p:sp>
    </p:spTree>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sz="1200" kern="1200">
        <a:solidFill>
          <a:schemeClr val="tx1"/>
        </a:solidFill>
        <a:latin typeface="Malgun Gothic" panose="020B0503020000020004" pitchFamily="34" charset="-127"/>
        <a:ea typeface="Malgun Gothic" panose="020B0503020000020004" pitchFamily="34" charset="-127"/>
        <a:cs typeface="+mn-cs"/>
      </a:defRPr>
    </a:lvl1pPr>
    <a:lvl2pPr marL="457200" algn="l" rtl="0" eaLnBrk="0" fontAlgn="base" latinLnBrk="1" hangingPunct="0">
      <a:spcBef>
        <a:spcPct val="30000"/>
      </a:spcBef>
      <a:spcAft>
        <a:spcPct val="0"/>
      </a:spcAft>
      <a:defRPr sz="1200" kern="1200">
        <a:solidFill>
          <a:schemeClr val="tx1"/>
        </a:solidFill>
        <a:latin typeface="Malgun Gothic" panose="020B0503020000020004" pitchFamily="34" charset="-127"/>
        <a:ea typeface="Malgun Gothic" panose="020B0503020000020004" pitchFamily="34" charset="-127"/>
        <a:cs typeface="+mn-cs"/>
      </a:defRPr>
    </a:lvl2pPr>
    <a:lvl3pPr marL="914400" algn="l" rtl="0" eaLnBrk="0" fontAlgn="base" latinLnBrk="1" hangingPunct="0">
      <a:spcBef>
        <a:spcPct val="30000"/>
      </a:spcBef>
      <a:spcAft>
        <a:spcPct val="0"/>
      </a:spcAft>
      <a:defRPr sz="1200" kern="1200">
        <a:solidFill>
          <a:schemeClr val="tx1"/>
        </a:solidFill>
        <a:latin typeface="Malgun Gothic" panose="020B0503020000020004" pitchFamily="34" charset="-127"/>
        <a:ea typeface="Malgun Gothic" panose="020B0503020000020004" pitchFamily="34" charset="-127"/>
        <a:cs typeface="+mn-cs"/>
      </a:defRPr>
    </a:lvl3pPr>
    <a:lvl4pPr marL="1371600" algn="l" rtl="0" eaLnBrk="0" fontAlgn="base" latinLnBrk="1" hangingPunct="0">
      <a:spcBef>
        <a:spcPct val="30000"/>
      </a:spcBef>
      <a:spcAft>
        <a:spcPct val="0"/>
      </a:spcAft>
      <a:defRPr sz="1200" kern="1200">
        <a:solidFill>
          <a:schemeClr val="tx1"/>
        </a:solidFill>
        <a:latin typeface="Malgun Gothic" panose="020B0503020000020004" pitchFamily="34" charset="-127"/>
        <a:ea typeface="Malgun Gothic" panose="020B0503020000020004" pitchFamily="34" charset="-127"/>
        <a:cs typeface="+mn-cs"/>
      </a:defRPr>
    </a:lvl4pPr>
    <a:lvl5pPr marL="1828800" algn="l" rtl="0" eaLnBrk="0" fontAlgn="base" latinLnBrk="1" hangingPunct="0">
      <a:spcBef>
        <a:spcPct val="30000"/>
      </a:spcBef>
      <a:spcAft>
        <a:spcPct val="0"/>
      </a:spcAft>
      <a:defRPr sz="1200" kern="1200">
        <a:solidFill>
          <a:schemeClr val="tx1"/>
        </a:solidFill>
        <a:latin typeface="Malgun Gothic" panose="020B0503020000020004" pitchFamily="34" charset="-127"/>
        <a:ea typeface="Malgun Gothic" panose="020B0503020000020004" pitchFamily="34" charset="-127"/>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Slide Image Placeholder 1"/>
          <p:cNvSpPr>
            <a:spLocks noGrp="1"/>
          </p:cNvSpPr>
          <p:nvPr>
            <p:ph type="sldImg" idx="2"/>
          </p:nvPr>
        </p:nvSpPr>
        <p:spPr/>
      </p:sp>
      <p:sp>
        <p:nvSpPr>
          <p:cNvPr id="3" name="Text Placeholder 2"/>
          <p:cNvSpPr>
            <a:spLocks noGrp="1"/>
          </p:cNvSpPr>
          <p:nvPr>
            <p:ph type="body" idx="3"/>
          </p:nvPr>
        </p:nvSpPr>
        <p:spPr/>
        <p:txBody>
          <a:bodyPr/>
          <a:p>
            <a:endParaRPr lang="en-GB"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4.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5" Type="http://schemas.openxmlformats.org/officeDocument/2006/relationships/vmlDrawing" Target="../drawings/vmlDrawing2.vml"/><Relationship Id="rId4" Type="http://schemas.openxmlformats.org/officeDocument/2006/relationships/image" Target="../media/image4.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5" Type="http://schemas.openxmlformats.org/officeDocument/2006/relationships/vmlDrawing" Target="../drawings/vmlDrawing3.vml"/><Relationship Id="rId4" Type="http://schemas.openxmlformats.org/officeDocument/2006/relationships/image" Target="../media/image4.emf"/><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5" Type="http://schemas.openxmlformats.org/officeDocument/2006/relationships/vmlDrawing" Target="../drawings/vmlDrawing4.vml"/><Relationship Id="rId4" Type="http://schemas.openxmlformats.org/officeDocument/2006/relationships/image" Target="../media/image4.emf"/><Relationship Id="rId3"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image" Target="../media/image4.emf"/><Relationship Id="rId3"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image" Target="../media/image4.emf"/><Relationship Id="rId3"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image" Target="../media/image4.emf"/><Relationship Id="rId3" Type="http://schemas.openxmlformats.org/officeDocument/2006/relationships/oleObject" Target="../embeddings/oleObject7.bin"/><Relationship Id="rId2" Type="http://schemas.openxmlformats.org/officeDocument/2006/relationships/tags" Target="../tags/tag7.xm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image" Target="../media/image4.emf"/><Relationship Id="rId3" Type="http://schemas.openxmlformats.org/officeDocument/2006/relationships/oleObject" Target="../embeddings/oleObject8.bin"/><Relationship Id="rId2" Type="http://schemas.openxmlformats.org/officeDocument/2006/relationships/tags" Target="../tags/tag8.xm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5" Type="http://schemas.openxmlformats.org/officeDocument/2006/relationships/vmlDrawing" Target="../drawings/vmlDrawing9.vml"/><Relationship Id="rId4" Type="http://schemas.openxmlformats.org/officeDocument/2006/relationships/image" Target="../media/image4.emf"/><Relationship Id="rId3" Type="http://schemas.openxmlformats.org/officeDocument/2006/relationships/oleObject" Target="../embeddings/oleObject9.bin"/><Relationship Id="rId2" Type="http://schemas.openxmlformats.org/officeDocument/2006/relationships/tags" Target="../tags/tag9.xm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endParaRPr lang="en-US" dirty="0"/>
          </a:p>
        </p:txBody>
      </p:sp>
    </p:spTree>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F79D2C-9CB2-4933-B4C1-46A1F0EDA3EF}" type="datetimeFigureOut">
              <a:rPr lang="en-IN" smtClean="0"/>
            </a:fld>
            <a:endParaRPr lang="en-IN" dirty="0"/>
          </a:p>
        </p:txBody>
      </p:sp>
      <p:sp>
        <p:nvSpPr>
          <p:cNvPr id="3" name="Footer Placeholder 2"/>
          <p:cNvSpPr>
            <a:spLocks noGrp="1"/>
          </p:cNvSpPr>
          <p:nvPr>
            <p:ph type="ftr" sz="quarter" idx="11"/>
          </p:nvPr>
        </p:nvSpPr>
        <p:spPr/>
        <p:txBody>
          <a:bodyPr/>
          <a:lstStyle/>
          <a:p>
            <a:endParaRPr lang="en-IN" dirty="0"/>
          </a:p>
        </p:txBody>
      </p:sp>
      <p:sp>
        <p:nvSpPr>
          <p:cNvPr id="4" name="Slide Number Placeholder 3"/>
          <p:cNvSpPr>
            <a:spLocks noGrp="1"/>
          </p:cNvSpPr>
          <p:nvPr>
            <p:ph type="sldNum" sz="quarter" idx="12"/>
          </p:nvPr>
        </p:nvSpPr>
        <p:spPr/>
        <p:txBody>
          <a:bodyPr/>
          <a:lstStyle/>
          <a:p>
            <a:fld id="{31864DED-7794-408C-BC5D-791977628A81}" type="slidenum">
              <a:rPr lang="en-IN" smtClean="0"/>
            </a:fld>
            <a:endParaRPr lang="en-IN" dirty="0"/>
          </a:p>
        </p:txBody>
      </p:sp>
      <p:pic>
        <p:nvPicPr>
          <p:cNvPr id="5" name="Picture 4"/>
          <p:cNvPicPr>
            <a:picLocks noChangeAspect="1"/>
          </p:cNvPicPr>
          <p:nvPr userDrawn="1"/>
        </p:nvPicPr>
        <p:blipFill>
          <a:blip r:embed="rId2"/>
          <a:srcRect/>
          <a:stretch>
            <a:fillRect/>
          </a:stretch>
        </p:blipFill>
        <p:spPr>
          <a:xfrm>
            <a:off x="8458" y="0"/>
            <a:ext cx="9135542" cy="5143500"/>
          </a:xfrm>
          <a:prstGeom prst="rect">
            <a:avLst/>
          </a:prstGeom>
        </p:spPr>
      </p:pic>
      <p:cxnSp>
        <p:nvCxnSpPr>
          <p:cNvPr id="6" name="Straight Connector 5"/>
          <p:cNvCxnSpPr/>
          <p:nvPr userDrawn="1"/>
        </p:nvCxnSpPr>
        <p:spPr>
          <a:xfrm flipV="1">
            <a:off x="-6078" y="580788"/>
            <a:ext cx="4668305" cy="1"/>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8458200" y="55819"/>
            <a:ext cx="614351" cy="574373"/>
          </a:xfrm>
          <a:prstGeom prst="rect">
            <a:avLst/>
          </a:prstGeom>
        </p:spPr>
      </p:pic>
    </p:spTree>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endParaRPr lang="en-US" dirty="0"/>
          </a:p>
        </p:txBody>
      </p:sp>
    </p:spTree>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asic Layout with Text_Lef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endParaRPr lang="en-US" dirty="0"/>
          </a:p>
        </p:txBody>
      </p:sp>
      <p:sp>
        <p:nvSpPr>
          <p:cNvPr id="5" name="텍스트 개체 틀 4"/>
          <p:cNvSpPr>
            <a:spLocks noGrp="1"/>
          </p:cNvSpPr>
          <p:nvPr>
            <p:ph type="body" sz="quarter" idx="10"/>
          </p:nvPr>
        </p:nvSpPr>
        <p:spPr>
          <a:xfrm>
            <a:off x="720725" y="879475"/>
            <a:ext cx="1763713" cy="2994125"/>
          </a:xfrm>
          <a:prstGeom prst="rect">
            <a:avLst/>
          </a:prstGeom>
        </p:spPr>
        <p:txBody>
          <a:bodyPr lIns="0" tIns="0" rIns="0" bIns="0"/>
          <a:lstStyle>
            <a:lvl1pPr marL="0" indent="0" algn="just">
              <a:buNone/>
              <a:defRPr lang="en-US" altLang="ko-KR" sz="80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4572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2pPr>
            <a:lvl3pPr marL="9144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3pPr>
            <a:lvl4pPr marL="13716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4pPr>
            <a:lvl5pPr marL="18288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5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asic Layout with Tex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endParaRPr lang="en-US" dirty="0"/>
          </a:p>
        </p:txBody>
      </p:sp>
      <p:sp>
        <p:nvSpPr>
          <p:cNvPr id="5" name="텍스트 개체 틀 4"/>
          <p:cNvSpPr>
            <a:spLocks noGrp="1"/>
          </p:cNvSpPr>
          <p:nvPr>
            <p:ph type="body" sz="quarter" idx="10"/>
          </p:nvPr>
        </p:nvSpPr>
        <p:spPr>
          <a:xfrm>
            <a:off x="6661150" y="879475"/>
            <a:ext cx="1763713" cy="2950925"/>
          </a:xfrm>
          <a:prstGeom prst="rect">
            <a:avLst/>
          </a:prstGeom>
        </p:spPr>
        <p:txBody>
          <a:bodyPr lIns="0" tIns="0" rIns="0" bIns="0"/>
          <a:lstStyle>
            <a:lvl1pPr marL="0" indent="0" algn="just">
              <a:buNone/>
              <a:defRPr lang="en-US" altLang="ko-KR" sz="80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4572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2pPr>
            <a:lvl3pPr marL="9144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3pPr>
            <a:lvl4pPr marL="13716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4pPr>
            <a:lvl5pPr marL="18288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5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sic Layout with Text_Top">
    <p:spTree>
      <p:nvGrpSpPr>
        <p:cNvPr id="1" name=""/>
        <p:cNvGrpSpPr/>
        <p:nvPr/>
      </p:nvGrpSpPr>
      <p:grpSpPr>
        <a:xfrm>
          <a:off x="0" y="0"/>
          <a:ext cx="0" cy="0"/>
          <a:chOff x="0" y="0"/>
          <a:chExt cx="0" cy="0"/>
        </a:xfrm>
      </p:grpSpPr>
      <p:sp>
        <p:nvSpPr>
          <p:cNvPr id="5" name="텍스트 개체 틀 4"/>
          <p:cNvSpPr>
            <a:spLocks noGrp="1"/>
          </p:cNvSpPr>
          <p:nvPr>
            <p:ph type="body" sz="quarter" idx="10"/>
          </p:nvPr>
        </p:nvSpPr>
        <p:spPr>
          <a:xfrm>
            <a:off x="720725" y="879475"/>
            <a:ext cx="7702550" cy="539605"/>
          </a:xfrm>
          <a:prstGeom prst="rect">
            <a:avLst/>
          </a:prstGeom>
        </p:spPr>
        <p:txBody>
          <a:bodyPr lIns="0" tIns="0" rIns="0" bIns="0" numCol="2" spcCol="216000"/>
          <a:lstStyle>
            <a:lvl1pPr marL="0" indent="0" algn="just">
              <a:buNone/>
              <a:defRPr lang="en-US" altLang="ko-KR" sz="80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4572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2pPr>
            <a:lvl3pPr marL="9144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3pPr>
            <a:lvl4pPr marL="13716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4pPr>
            <a:lvl5pPr marL="18288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5pPr>
          </a:lstStyle>
          <a:p>
            <a:pPr lvl="0"/>
            <a:r>
              <a:rPr lang="en-US" altLang="ko-KR"/>
              <a:t>Click to edit Master text styles</a:t>
            </a:r>
            <a:endParaRPr lang="en-US" altLang="ko-KR"/>
          </a:p>
        </p:txBody>
      </p:sp>
      <p:sp>
        <p:nvSpPr>
          <p:cNvPr id="3" name="Title 2"/>
          <p:cNvSpPr>
            <a:spLocks noGrp="1"/>
          </p:cNvSpPr>
          <p:nvPr>
            <p:ph type="title"/>
          </p:nvPr>
        </p:nvSpPr>
        <p:spPr/>
        <p:txBody>
          <a:bodyPr/>
          <a:lstStyle/>
          <a:p>
            <a:r>
              <a:rPr lang="en-US" dirty="0"/>
              <a:t>Click to edit Master title style</a:t>
            </a:r>
            <a:endParaRPr lang="en-US" dirty="0"/>
          </a:p>
        </p:txBody>
      </p:sp>
    </p:spTree>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userDrawn="1">
  <p:cSld name="Slide Map">
    <p:bg>
      <p:bgPr>
        <a:solidFill>
          <a:schemeClr val="tx2"/>
        </a:solidFill>
        <a:effectLst/>
      </p:bgPr>
    </p:bg>
    <p:spTree>
      <p:nvGrpSpPr>
        <p:cNvPr id="1" name=""/>
        <p:cNvGrpSpPr/>
        <p:nvPr/>
      </p:nvGrpSpPr>
      <p:grpSpPr>
        <a:xfrm>
          <a:off x="0" y="0"/>
          <a:ext cx="0" cy="0"/>
          <a:chOff x="0" y="0"/>
          <a:chExt cx="0" cy="0"/>
        </a:xfrm>
      </p:grpSpPr>
      <p:sp>
        <p:nvSpPr>
          <p:cNvPr id="3" name="자유형 41">
            <a:hlinkClick r:id="" action="ppaction://hlinkshowjump?jump=lastslideviewed"/>
          </p:cNvPr>
          <p:cNvSpPr/>
          <p:nvPr userDrawn="1"/>
        </p:nvSpPr>
        <p:spPr>
          <a:xfrm>
            <a:off x="8245475" y="339725"/>
            <a:ext cx="179388" cy="179388"/>
          </a:xfrm>
          <a:custGeom>
            <a:avLst/>
            <a:gdLst>
              <a:gd name="connsiteX0" fmla="*/ 47410 w 180020"/>
              <a:gd name="connsiteY0" fmla="*/ 109200 h 180020"/>
              <a:gd name="connsiteX1" fmla="*/ 47410 w 180020"/>
              <a:gd name="connsiteY1" fmla="*/ 120154 h 180020"/>
              <a:gd name="connsiteX2" fmla="*/ 132611 w 180020"/>
              <a:gd name="connsiteY2" fmla="*/ 120154 h 180020"/>
              <a:gd name="connsiteX3" fmla="*/ 132611 w 180020"/>
              <a:gd name="connsiteY3" fmla="*/ 109200 h 180020"/>
              <a:gd name="connsiteX4" fmla="*/ 47410 w 180020"/>
              <a:gd name="connsiteY4" fmla="*/ 84533 h 180020"/>
              <a:gd name="connsiteX5" fmla="*/ 47410 w 180020"/>
              <a:gd name="connsiteY5" fmla="*/ 95487 h 180020"/>
              <a:gd name="connsiteX6" fmla="*/ 132611 w 180020"/>
              <a:gd name="connsiteY6" fmla="*/ 95487 h 180020"/>
              <a:gd name="connsiteX7" fmla="*/ 132611 w 180020"/>
              <a:gd name="connsiteY7" fmla="*/ 84533 h 180020"/>
              <a:gd name="connsiteX8" fmla="*/ 47410 w 180020"/>
              <a:gd name="connsiteY8" fmla="*/ 59866 h 180020"/>
              <a:gd name="connsiteX9" fmla="*/ 47410 w 180020"/>
              <a:gd name="connsiteY9" fmla="*/ 70820 h 180020"/>
              <a:gd name="connsiteX10" fmla="*/ 132611 w 180020"/>
              <a:gd name="connsiteY10" fmla="*/ 70820 h 180020"/>
              <a:gd name="connsiteX11" fmla="*/ 132611 w 180020"/>
              <a:gd name="connsiteY11" fmla="*/ 59866 h 180020"/>
              <a:gd name="connsiteX12" fmla="*/ 90010 w 180020"/>
              <a:gd name="connsiteY12" fmla="*/ 0 h 180020"/>
              <a:gd name="connsiteX13" fmla="*/ 180020 w 180020"/>
              <a:gd name="connsiteY13" fmla="*/ 90010 h 180020"/>
              <a:gd name="connsiteX14" fmla="*/ 90010 w 180020"/>
              <a:gd name="connsiteY14" fmla="*/ 180020 h 180020"/>
              <a:gd name="connsiteX15" fmla="*/ 0 w 180020"/>
              <a:gd name="connsiteY15" fmla="*/ 90010 h 180020"/>
              <a:gd name="connsiteX16" fmla="*/ 90010 w 180020"/>
              <a:gd name="connsiteY16" fmla="*/ 0 h 18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020" h="180020">
                <a:moveTo>
                  <a:pt x="47410" y="109200"/>
                </a:moveTo>
                <a:lnTo>
                  <a:pt x="47410" y="120154"/>
                </a:lnTo>
                <a:lnTo>
                  <a:pt x="132611" y="120154"/>
                </a:lnTo>
                <a:lnTo>
                  <a:pt x="132611" y="109200"/>
                </a:lnTo>
                <a:close/>
                <a:moveTo>
                  <a:pt x="47410" y="84533"/>
                </a:moveTo>
                <a:lnTo>
                  <a:pt x="47410" y="95487"/>
                </a:lnTo>
                <a:lnTo>
                  <a:pt x="132611" y="95487"/>
                </a:lnTo>
                <a:lnTo>
                  <a:pt x="132611" y="84533"/>
                </a:lnTo>
                <a:close/>
                <a:moveTo>
                  <a:pt x="47410" y="59866"/>
                </a:moveTo>
                <a:lnTo>
                  <a:pt x="47410" y="70820"/>
                </a:lnTo>
                <a:lnTo>
                  <a:pt x="132611" y="70820"/>
                </a:lnTo>
                <a:lnTo>
                  <a:pt x="132611" y="59866"/>
                </a:lnTo>
                <a:close/>
                <a:moveTo>
                  <a:pt x="90010" y="0"/>
                </a:moveTo>
                <a:cubicBezTo>
                  <a:pt x="139721" y="0"/>
                  <a:pt x="180020" y="40299"/>
                  <a:pt x="180020" y="90010"/>
                </a:cubicBezTo>
                <a:cubicBezTo>
                  <a:pt x="180020" y="139721"/>
                  <a:pt x="139721" y="180020"/>
                  <a:pt x="90010" y="180020"/>
                </a:cubicBezTo>
                <a:cubicBezTo>
                  <a:pt x="40299" y="180020"/>
                  <a:pt x="0" y="139721"/>
                  <a:pt x="0" y="90010"/>
                </a:cubicBezTo>
                <a:cubicBezTo>
                  <a:pt x="0" y="40299"/>
                  <a:pt x="40299" y="0"/>
                  <a:pt x="90010" y="0"/>
                </a:cubicBezTo>
                <a:close/>
              </a:path>
            </a:pathLst>
          </a:custGeom>
          <a:solidFill>
            <a:schemeClr val="accent1"/>
          </a:solidFill>
          <a:ln>
            <a:noFill/>
          </a:ln>
        </p:spPr>
        <p:style>
          <a:lnRef idx="2">
            <a:schemeClr val="dk1"/>
          </a:lnRef>
          <a:fillRef idx="1">
            <a:schemeClr val="lt1"/>
          </a:fillRef>
          <a:effectRef idx="0">
            <a:schemeClr val="dk1"/>
          </a:effectRef>
          <a:fontRef idx="minor">
            <a:schemeClr val="dk1"/>
          </a:fontRef>
        </p:style>
        <p:txBody>
          <a:bodyPr anchor="ctr"/>
          <a:lstStyle/>
          <a:p>
            <a:pPr algn="ctr" eaLnBrk="1" fontAlgn="auto" latinLnBrk="1" hangingPunct="1">
              <a:spcBef>
                <a:spcPts val="0"/>
              </a:spcBef>
              <a:spcAft>
                <a:spcPts val="0"/>
              </a:spcAft>
              <a:defRPr/>
            </a:pPr>
            <a:endParaRPr lang="en-US" dirty="0"/>
          </a:p>
        </p:txBody>
      </p:sp>
      <p:sp>
        <p:nvSpPr>
          <p:cNvPr id="4" name="자유형 42">
            <a:hlinkClick r:id="" action="ppaction://hlinkshowjump?jump=nextslide"/>
          </p:cNvPr>
          <p:cNvSpPr/>
          <p:nvPr userDrawn="1"/>
        </p:nvSpPr>
        <p:spPr>
          <a:xfrm>
            <a:off x="8037513" y="339725"/>
            <a:ext cx="180975" cy="179388"/>
          </a:xfrm>
          <a:custGeom>
            <a:avLst/>
            <a:gdLst>
              <a:gd name="connsiteX0" fmla="*/ 70888 w 180020"/>
              <a:gd name="connsiteY0" fmla="*/ 36035 h 180020"/>
              <a:gd name="connsiteX1" fmla="*/ 70888 w 180020"/>
              <a:gd name="connsiteY1" fmla="*/ 53498 h 180020"/>
              <a:gd name="connsiteX2" fmla="*/ 115338 w 180020"/>
              <a:gd name="connsiteY2" fmla="*/ 90010 h 180020"/>
              <a:gd name="connsiteX3" fmla="*/ 70888 w 180020"/>
              <a:gd name="connsiteY3" fmla="*/ 126523 h 180020"/>
              <a:gd name="connsiteX4" fmla="*/ 70888 w 180020"/>
              <a:gd name="connsiteY4" fmla="*/ 143985 h 180020"/>
              <a:gd name="connsiteX5" fmla="*/ 135975 w 180020"/>
              <a:gd name="connsiteY5" fmla="*/ 90010 h 180020"/>
              <a:gd name="connsiteX6" fmla="*/ 90010 w 180020"/>
              <a:gd name="connsiteY6" fmla="*/ 0 h 180020"/>
              <a:gd name="connsiteX7" fmla="*/ 180020 w 180020"/>
              <a:gd name="connsiteY7" fmla="*/ 90010 h 180020"/>
              <a:gd name="connsiteX8" fmla="*/ 90010 w 180020"/>
              <a:gd name="connsiteY8" fmla="*/ 180020 h 180020"/>
              <a:gd name="connsiteX9" fmla="*/ 0 w 180020"/>
              <a:gd name="connsiteY9" fmla="*/ 90010 h 180020"/>
              <a:gd name="connsiteX10" fmla="*/ 90010 w 180020"/>
              <a:gd name="connsiteY10" fmla="*/ 0 h 18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0020" h="180020">
                <a:moveTo>
                  <a:pt x="70888" y="36035"/>
                </a:moveTo>
                <a:lnTo>
                  <a:pt x="70888" y="53498"/>
                </a:lnTo>
                <a:lnTo>
                  <a:pt x="115338" y="90010"/>
                </a:lnTo>
                <a:lnTo>
                  <a:pt x="70888" y="126523"/>
                </a:lnTo>
                <a:lnTo>
                  <a:pt x="70888" y="143985"/>
                </a:lnTo>
                <a:lnTo>
                  <a:pt x="135975" y="90010"/>
                </a:lnTo>
                <a:close/>
                <a:moveTo>
                  <a:pt x="90010" y="0"/>
                </a:moveTo>
                <a:cubicBezTo>
                  <a:pt x="139721" y="0"/>
                  <a:pt x="180020" y="40299"/>
                  <a:pt x="180020" y="90010"/>
                </a:cubicBezTo>
                <a:cubicBezTo>
                  <a:pt x="180020" y="139721"/>
                  <a:pt x="139721" y="180020"/>
                  <a:pt x="90010" y="180020"/>
                </a:cubicBezTo>
                <a:cubicBezTo>
                  <a:pt x="40299" y="180020"/>
                  <a:pt x="0" y="139721"/>
                  <a:pt x="0" y="90010"/>
                </a:cubicBezTo>
                <a:cubicBezTo>
                  <a:pt x="0" y="40299"/>
                  <a:pt x="40299" y="0"/>
                  <a:pt x="90010" y="0"/>
                </a:cubicBezTo>
                <a:close/>
              </a:path>
            </a:pathLst>
          </a:custGeom>
          <a:solidFill>
            <a:schemeClr val="bg1">
              <a:alpha val="20000"/>
            </a:schemeClr>
          </a:solidFill>
          <a:ln>
            <a:noFill/>
          </a:ln>
        </p:spPr>
        <p:style>
          <a:lnRef idx="2">
            <a:schemeClr val="dk1"/>
          </a:lnRef>
          <a:fillRef idx="1">
            <a:schemeClr val="lt1"/>
          </a:fillRef>
          <a:effectRef idx="0">
            <a:schemeClr val="dk1"/>
          </a:effectRef>
          <a:fontRef idx="minor">
            <a:schemeClr val="dk1"/>
          </a:fontRef>
        </p:style>
        <p:txBody>
          <a:bodyPr anchor="ctr"/>
          <a:lstStyle/>
          <a:p>
            <a:pPr algn="ctr" eaLnBrk="1" fontAlgn="auto" latinLnBrk="1" hangingPunct="1">
              <a:spcBef>
                <a:spcPts val="0"/>
              </a:spcBef>
              <a:spcAft>
                <a:spcPts val="0"/>
              </a:spcAft>
              <a:defRPr/>
            </a:pPr>
            <a:endParaRPr lang="en-US" dirty="0"/>
          </a:p>
        </p:txBody>
      </p:sp>
      <p:sp>
        <p:nvSpPr>
          <p:cNvPr id="5" name="자유형 43">
            <a:hlinkClick r:id="" action="ppaction://hlinkshowjump?jump=previousslide"/>
          </p:cNvPr>
          <p:cNvSpPr/>
          <p:nvPr userDrawn="1"/>
        </p:nvSpPr>
        <p:spPr>
          <a:xfrm flipH="1">
            <a:off x="7831138" y="339725"/>
            <a:ext cx="180975" cy="179388"/>
          </a:xfrm>
          <a:custGeom>
            <a:avLst/>
            <a:gdLst>
              <a:gd name="connsiteX0" fmla="*/ 70889 w 180020"/>
              <a:gd name="connsiteY0" fmla="*/ 36035 h 180020"/>
              <a:gd name="connsiteX1" fmla="*/ 135976 w 180020"/>
              <a:gd name="connsiteY1" fmla="*/ 90010 h 180020"/>
              <a:gd name="connsiteX2" fmla="*/ 70889 w 180020"/>
              <a:gd name="connsiteY2" fmla="*/ 143985 h 180020"/>
              <a:gd name="connsiteX3" fmla="*/ 70889 w 180020"/>
              <a:gd name="connsiteY3" fmla="*/ 126523 h 180020"/>
              <a:gd name="connsiteX4" fmla="*/ 115339 w 180020"/>
              <a:gd name="connsiteY4" fmla="*/ 90010 h 180020"/>
              <a:gd name="connsiteX5" fmla="*/ 70889 w 180020"/>
              <a:gd name="connsiteY5" fmla="*/ 53498 h 180020"/>
              <a:gd name="connsiteX6" fmla="*/ 90010 w 180020"/>
              <a:gd name="connsiteY6" fmla="*/ 0 h 180020"/>
              <a:gd name="connsiteX7" fmla="*/ 0 w 180020"/>
              <a:gd name="connsiteY7" fmla="*/ 90010 h 180020"/>
              <a:gd name="connsiteX8" fmla="*/ 90010 w 180020"/>
              <a:gd name="connsiteY8" fmla="*/ 180020 h 180020"/>
              <a:gd name="connsiteX9" fmla="*/ 180020 w 180020"/>
              <a:gd name="connsiteY9" fmla="*/ 90010 h 180020"/>
              <a:gd name="connsiteX10" fmla="*/ 90010 w 180020"/>
              <a:gd name="connsiteY10" fmla="*/ 0 h 18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0020" h="180020">
                <a:moveTo>
                  <a:pt x="70889" y="36035"/>
                </a:moveTo>
                <a:lnTo>
                  <a:pt x="135976" y="90010"/>
                </a:lnTo>
                <a:lnTo>
                  <a:pt x="70889" y="143985"/>
                </a:lnTo>
                <a:lnTo>
                  <a:pt x="70889" y="126523"/>
                </a:lnTo>
                <a:lnTo>
                  <a:pt x="115339" y="90010"/>
                </a:lnTo>
                <a:lnTo>
                  <a:pt x="70889" y="53498"/>
                </a:lnTo>
                <a:close/>
                <a:moveTo>
                  <a:pt x="90010" y="0"/>
                </a:moveTo>
                <a:cubicBezTo>
                  <a:pt x="40299" y="0"/>
                  <a:pt x="0" y="40299"/>
                  <a:pt x="0" y="90010"/>
                </a:cubicBezTo>
                <a:cubicBezTo>
                  <a:pt x="0" y="139721"/>
                  <a:pt x="40299" y="180020"/>
                  <a:pt x="90010" y="180020"/>
                </a:cubicBezTo>
                <a:cubicBezTo>
                  <a:pt x="139721" y="180020"/>
                  <a:pt x="180020" y="139721"/>
                  <a:pt x="180020" y="90010"/>
                </a:cubicBezTo>
                <a:cubicBezTo>
                  <a:pt x="180020" y="40299"/>
                  <a:pt x="139721" y="0"/>
                  <a:pt x="90010" y="0"/>
                </a:cubicBezTo>
                <a:close/>
              </a:path>
            </a:pathLst>
          </a:custGeom>
          <a:solidFill>
            <a:schemeClr val="bg1">
              <a:alpha val="20000"/>
            </a:schemeClr>
          </a:solidFill>
          <a:ln>
            <a:noFill/>
          </a:ln>
        </p:spPr>
        <p:style>
          <a:lnRef idx="2">
            <a:schemeClr val="dk1"/>
          </a:lnRef>
          <a:fillRef idx="1">
            <a:schemeClr val="lt1"/>
          </a:fillRef>
          <a:effectRef idx="0">
            <a:schemeClr val="dk1"/>
          </a:effectRef>
          <a:fontRef idx="minor">
            <a:schemeClr val="dk1"/>
          </a:fontRef>
        </p:style>
        <p:txBody>
          <a:bodyPr anchor="ctr"/>
          <a:lstStyle/>
          <a:p>
            <a:pPr algn="ctr" eaLnBrk="1" fontAlgn="auto" latinLnBrk="1" hangingPunct="1">
              <a:spcBef>
                <a:spcPts val="0"/>
              </a:spcBef>
              <a:spcAft>
                <a:spcPts val="0"/>
              </a:spcAft>
              <a:defRPr/>
            </a:pPr>
            <a:endParaRPr lang="en-US" dirty="0"/>
          </a:p>
        </p:txBody>
      </p:sp>
      <p:cxnSp>
        <p:nvCxnSpPr>
          <p:cNvPr id="6" name="직선 연결선 25"/>
          <p:cNvCxnSpPr/>
          <p:nvPr userDrawn="1"/>
        </p:nvCxnSpPr>
        <p:spPr>
          <a:xfrm>
            <a:off x="720725" y="742950"/>
            <a:ext cx="3238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gradFill flip="none" rotWithShape="1">
                  <a:gsLst>
                    <a:gs pos="0">
                      <a:schemeClr val="bg2"/>
                    </a:gs>
                    <a:gs pos="100000">
                      <a:schemeClr val="bg2"/>
                    </a:gs>
                  </a:gsLst>
                  <a:lin ang="0" scaled="1"/>
                  <a:tileRect/>
                </a:gradFill>
              </a:defRPr>
            </a:lvl1pPr>
          </a:lstStyle>
          <a:p>
            <a:r>
              <a:rPr lang="en-US"/>
              <a:t>Click to edit Master title style</a:t>
            </a:r>
            <a:endParaRPr lang="en-US" dirty="0"/>
          </a:p>
        </p:txBody>
      </p:sp>
    </p:spTree>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showMasterSp="0" userDrawn="1">
  <p:cSld name="Section Break">
    <p:bg>
      <p:bgPr>
        <a:solidFill>
          <a:srgbClr val="FFFFFF"/>
        </a:solidFill>
        <a:effectLst/>
      </p:bgPr>
    </p:bg>
    <p:spTree>
      <p:nvGrpSpPr>
        <p:cNvPr id="1" name=""/>
        <p:cNvGrpSpPr/>
        <p:nvPr/>
      </p:nvGrpSpPr>
      <p:grpSpPr>
        <a:xfrm>
          <a:off x="0" y="0"/>
          <a:ext cx="0" cy="0"/>
          <a:chOff x="0" y="0"/>
          <a:chExt cx="0" cy="0"/>
        </a:xfrm>
      </p:grpSpPr>
      <p:sp>
        <p:nvSpPr>
          <p:cNvPr id="5" name="그림 개체 틀 4"/>
          <p:cNvSpPr>
            <a:spLocks noGrp="1"/>
          </p:cNvSpPr>
          <p:nvPr>
            <p:ph type="pic" sz="quarter" idx="10"/>
          </p:nvPr>
        </p:nvSpPr>
        <p:spPr>
          <a:xfrm>
            <a:off x="0" y="450"/>
            <a:ext cx="9144000" cy="5143500"/>
          </a:xfrm>
          <a:prstGeom prst="rect">
            <a:avLst/>
          </a:prstGeom>
        </p:spPr>
        <p:txBody>
          <a:bodyPr anchor="ctr"/>
          <a:lstStyle>
            <a:lvl1pPr marL="0" indent="0" algn="ctr">
              <a:buNone/>
              <a:defRPr sz="1000">
                <a:solidFill>
                  <a:srgbClr val="2F3540"/>
                </a:solidFill>
              </a:defRPr>
            </a:lvl1pPr>
          </a:lstStyle>
          <a:p>
            <a:pPr lvl="0"/>
            <a:r>
              <a:rPr lang="en-US" altLang="ko-KR" noProof="0"/>
              <a:t>Click icon to add picture</a:t>
            </a:r>
            <a:endParaRPr lang="ko-KR" altLang="en-US" noProof="0" dirty="0"/>
          </a:p>
        </p:txBody>
      </p:sp>
    </p:spTree>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showMasterSp="0" userDrawn="1">
  <p:cSld name="none">
    <p:spTree>
      <p:nvGrpSpPr>
        <p:cNvPr id="1" name=""/>
        <p:cNvGrpSpPr/>
        <p:nvPr/>
      </p:nvGrpSpPr>
      <p:grpSpPr>
        <a:xfrm>
          <a:off x="0" y="0"/>
          <a:ext cx="0" cy="0"/>
          <a:chOff x="0" y="0"/>
          <a:chExt cx="0" cy="0"/>
        </a:xfrm>
      </p:grpSpPr>
    </p:spTree>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Tree>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Tree>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Layout with Text_Lef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endParaRPr lang="en-US" dirty="0"/>
          </a:p>
        </p:txBody>
      </p:sp>
      <p:sp>
        <p:nvSpPr>
          <p:cNvPr id="5" name="텍스트 개체 틀 4"/>
          <p:cNvSpPr>
            <a:spLocks noGrp="1"/>
          </p:cNvSpPr>
          <p:nvPr>
            <p:ph type="body" sz="quarter" idx="10"/>
          </p:nvPr>
        </p:nvSpPr>
        <p:spPr>
          <a:xfrm>
            <a:off x="720725" y="879475"/>
            <a:ext cx="1763713" cy="2994125"/>
          </a:xfrm>
          <a:prstGeom prst="rect">
            <a:avLst/>
          </a:prstGeom>
        </p:spPr>
        <p:txBody>
          <a:bodyPr lIns="0" tIns="0" rIns="0" bIns="0"/>
          <a:lstStyle>
            <a:lvl1pPr marL="0" indent="0" algn="just">
              <a:buNone/>
              <a:defRPr lang="en-US" altLang="ko-KR" sz="80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4572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2pPr>
            <a:lvl3pPr marL="9144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3pPr>
            <a:lvl4pPr marL="13716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4pPr>
            <a:lvl5pPr marL="18288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5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sic Layout with Text_Left">
    <p:spTree>
      <p:nvGrpSpPr>
        <p:cNvPr id="1" name=""/>
        <p:cNvGrpSpPr/>
        <p:nvPr/>
      </p:nvGrpSpPr>
      <p:grpSpPr>
        <a:xfrm>
          <a:off x="0" y="0"/>
          <a:ext cx="0" cy="0"/>
          <a:chOff x="0" y="0"/>
          <a:chExt cx="0" cy="0"/>
        </a:xfrm>
      </p:grpSpPr>
      <p:sp>
        <p:nvSpPr>
          <p:cNvPr id="5" name="텍스트 개체 틀 4"/>
          <p:cNvSpPr>
            <a:spLocks noGrp="1"/>
          </p:cNvSpPr>
          <p:nvPr>
            <p:ph type="body" sz="quarter" idx="10"/>
          </p:nvPr>
        </p:nvSpPr>
        <p:spPr>
          <a:xfrm>
            <a:off x="720726" y="1028700"/>
            <a:ext cx="7719889" cy="3314700"/>
          </a:xfrm>
          <a:prstGeom prst="rect">
            <a:avLst/>
          </a:prstGeom>
        </p:spPr>
        <p:txBody>
          <a:bodyPr lIns="0" tIns="0" rIns="0" bIns="0"/>
          <a:lstStyle>
            <a:lvl1pPr marL="0" indent="0" algn="just">
              <a:buNone/>
              <a:defRPr lang="en-US" altLang="ko-KR" sz="60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342900" indent="0">
              <a:buNone/>
              <a:defRPr lang="ko-KR" altLang="en-US" sz="600" kern="1200" dirty="0" smtClean="0">
                <a:gradFill flip="none" rotWithShape="1">
                  <a:gsLst>
                    <a:gs pos="0">
                      <a:srgbClr val="2F3540"/>
                    </a:gs>
                    <a:gs pos="100000">
                      <a:srgbClr val="2F3540"/>
                    </a:gs>
                  </a:gsLst>
                  <a:lin ang="0" scaled="1"/>
                  <a:tileRect/>
                </a:gradFill>
                <a:latin typeface="Roboto Condensed Light"/>
                <a:ea typeface="+mn-ea"/>
                <a:cs typeface="+mn-cs"/>
              </a:defRPr>
            </a:lvl2pPr>
            <a:lvl3pPr marL="685800" indent="0">
              <a:buNone/>
              <a:defRPr lang="ko-KR" altLang="en-US" sz="600" kern="1200" dirty="0" smtClean="0">
                <a:gradFill flip="none" rotWithShape="1">
                  <a:gsLst>
                    <a:gs pos="0">
                      <a:srgbClr val="2F3540"/>
                    </a:gs>
                    <a:gs pos="100000">
                      <a:srgbClr val="2F3540"/>
                    </a:gs>
                  </a:gsLst>
                  <a:lin ang="0" scaled="1"/>
                  <a:tileRect/>
                </a:gradFill>
                <a:latin typeface="Roboto Condensed Light"/>
                <a:ea typeface="+mn-ea"/>
                <a:cs typeface="+mn-cs"/>
              </a:defRPr>
            </a:lvl3pPr>
            <a:lvl4pPr marL="1028700" indent="0">
              <a:buNone/>
              <a:defRPr lang="ko-KR" altLang="en-US" sz="600" kern="1200" dirty="0" smtClean="0">
                <a:gradFill flip="none" rotWithShape="1">
                  <a:gsLst>
                    <a:gs pos="0">
                      <a:srgbClr val="2F3540"/>
                    </a:gs>
                    <a:gs pos="100000">
                      <a:srgbClr val="2F3540"/>
                    </a:gs>
                  </a:gsLst>
                  <a:lin ang="0" scaled="1"/>
                  <a:tileRect/>
                </a:gradFill>
                <a:latin typeface="Roboto Condensed Light"/>
                <a:ea typeface="+mn-ea"/>
                <a:cs typeface="+mn-cs"/>
              </a:defRPr>
            </a:lvl4pPr>
            <a:lvl5pPr marL="1371600" indent="0">
              <a:buNone/>
              <a:defRPr lang="ko-KR" altLang="en-US" sz="600" kern="1200" dirty="0" smtClean="0">
                <a:gradFill flip="none" rotWithShape="1">
                  <a:gsLst>
                    <a:gs pos="0">
                      <a:srgbClr val="2F3540"/>
                    </a:gs>
                    <a:gs pos="100000">
                      <a:srgbClr val="2F3540"/>
                    </a:gs>
                  </a:gsLst>
                  <a:lin ang="0" scaled="1"/>
                  <a:tileRect/>
                </a:gradFill>
                <a:latin typeface="Roboto Condensed Light"/>
                <a:ea typeface="+mn-ea"/>
                <a:cs typeface="+mn-cs"/>
              </a:defRPr>
            </a:lvl5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Basic Layout with Text_Left">
    <p:spTree>
      <p:nvGrpSpPr>
        <p:cNvPr id="1" name=""/>
        <p:cNvGrpSpPr/>
        <p:nvPr/>
      </p:nvGrpSpPr>
      <p:grpSpPr>
        <a:xfrm>
          <a:off x="0" y="0"/>
          <a:ext cx="0" cy="0"/>
          <a:chOff x="0" y="0"/>
          <a:chExt cx="0" cy="0"/>
        </a:xfrm>
      </p:grpSpPr>
      <p:sp>
        <p:nvSpPr>
          <p:cNvPr id="3" name="Title 2"/>
          <p:cNvSpPr>
            <a:spLocks noGrp="1"/>
          </p:cNvSpPr>
          <p:nvPr>
            <p:ph type="title"/>
          </p:nvPr>
        </p:nvSpPr>
        <p:spPr>
          <a:xfrm>
            <a:off x="351692" y="285751"/>
            <a:ext cx="7719646" cy="467915"/>
          </a:xfrm>
          <a:prstGeom prst="rect">
            <a:avLst/>
          </a:prstGeom>
        </p:spPr>
        <p:txBody>
          <a:bodyPr/>
          <a:lstStyle/>
          <a:p>
            <a:r>
              <a:rPr lang="en-US" dirty="0"/>
              <a:t>Click to edit Master title style</a:t>
            </a:r>
            <a:endParaRPr lang="en-US" dirty="0"/>
          </a:p>
        </p:txBody>
      </p:sp>
    </p:spTree>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asic Layout with Text">
    <p:spTree>
      <p:nvGrpSpPr>
        <p:cNvPr id="1" name=""/>
        <p:cNvGrpSpPr/>
        <p:nvPr/>
      </p:nvGrpSpPr>
      <p:grpSpPr>
        <a:xfrm>
          <a:off x="0" y="0"/>
          <a:ext cx="0" cy="0"/>
          <a:chOff x="0" y="0"/>
          <a:chExt cx="0" cy="0"/>
        </a:xfrm>
      </p:grpSpPr>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
        <p:nvSpPr>
          <p:cNvPr id="5" name="텍스트 개체 틀 4"/>
          <p:cNvSpPr>
            <a:spLocks noGrp="1"/>
          </p:cNvSpPr>
          <p:nvPr>
            <p:ph type="body" sz="quarter" idx="10"/>
          </p:nvPr>
        </p:nvSpPr>
        <p:spPr>
          <a:xfrm>
            <a:off x="6661152" y="879477"/>
            <a:ext cx="1763713" cy="2950925"/>
          </a:xfrm>
          <a:prstGeom prst="rect">
            <a:avLst/>
          </a:prstGeom>
        </p:spPr>
        <p:txBody>
          <a:bodyPr lIns="0" tIns="0" rIns="0" bIns="0"/>
          <a:lstStyle>
            <a:lvl1pPr marL="0" indent="0" algn="just">
              <a:buNone/>
              <a:defRPr lang="en-US" altLang="ko-KR" sz="60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342900" indent="0">
              <a:buNone/>
              <a:defRPr lang="ko-KR" altLang="en-US" sz="600" kern="1200" dirty="0" smtClean="0">
                <a:gradFill flip="none" rotWithShape="1">
                  <a:gsLst>
                    <a:gs pos="0">
                      <a:srgbClr val="2F3540"/>
                    </a:gs>
                    <a:gs pos="100000">
                      <a:srgbClr val="2F3540"/>
                    </a:gs>
                  </a:gsLst>
                  <a:lin ang="0" scaled="1"/>
                  <a:tileRect/>
                </a:gradFill>
                <a:latin typeface="Roboto Condensed Light"/>
                <a:ea typeface="+mn-ea"/>
                <a:cs typeface="+mn-cs"/>
              </a:defRPr>
            </a:lvl2pPr>
            <a:lvl3pPr marL="685800" indent="0">
              <a:buNone/>
              <a:defRPr lang="ko-KR" altLang="en-US" sz="600" kern="1200" dirty="0" smtClean="0">
                <a:gradFill flip="none" rotWithShape="1">
                  <a:gsLst>
                    <a:gs pos="0">
                      <a:srgbClr val="2F3540"/>
                    </a:gs>
                    <a:gs pos="100000">
                      <a:srgbClr val="2F3540"/>
                    </a:gs>
                  </a:gsLst>
                  <a:lin ang="0" scaled="1"/>
                  <a:tileRect/>
                </a:gradFill>
                <a:latin typeface="Roboto Condensed Light"/>
                <a:ea typeface="+mn-ea"/>
                <a:cs typeface="+mn-cs"/>
              </a:defRPr>
            </a:lvl3pPr>
            <a:lvl4pPr marL="1028700" indent="0">
              <a:buNone/>
              <a:defRPr lang="ko-KR" altLang="en-US" sz="600" kern="1200" dirty="0" smtClean="0">
                <a:gradFill flip="none" rotWithShape="1">
                  <a:gsLst>
                    <a:gs pos="0">
                      <a:srgbClr val="2F3540"/>
                    </a:gs>
                    <a:gs pos="100000">
                      <a:srgbClr val="2F3540"/>
                    </a:gs>
                  </a:gsLst>
                  <a:lin ang="0" scaled="1"/>
                  <a:tileRect/>
                </a:gradFill>
                <a:latin typeface="Roboto Condensed Light"/>
                <a:ea typeface="+mn-ea"/>
                <a:cs typeface="+mn-cs"/>
              </a:defRPr>
            </a:lvl4pPr>
            <a:lvl5pPr marL="1371600" indent="0">
              <a:buNone/>
              <a:defRPr lang="ko-KR" altLang="en-US" sz="600" kern="1200" dirty="0" smtClean="0">
                <a:gradFill flip="none" rotWithShape="1">
                  <a:gsLst>
                    <a:gs pos="0">
                      <a:srgbClr val="2F3540"/>
                    </a:gs>
                    <a:gs pos="100000">
                      <a:srgbClr val="2F3540"/>
                    </a:gs>
                  </a:gsLst>
                  <a:lin ang="0" scaled="1"/>
                  <a:tileRect/>
                </a:gradFill>
                <a:latin typeface="Roboto Condensed Light"/>
                <a:ea typeface="+mn-ea"/>
                <a:cs typeface="+mn-cs"/>
              </a:defRPr>
            </a:lvl5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sic Layout with Text_Top">
    <p:spTree>
      <p:nvGrpSpPr>
        <p:cNvPr id="1" name=""/>
        <p:cNvGrpSpPr/>
        <p:nvPr/>
      </p:nvGrpSpPr>
      <p:grpSpPr>
        <a:xfrm>
          <a:off x="0" y="0"/>
          <a:ext cx="0" cy="0"/>
          <a:chOff x="0" y="0"/>
          <a:chExt cx="0" cy="0"/>
        </a:xfrm>
      </p:grpSpPr>
      <p:sp>
        <p:nvSpPr>
          <p:cNvPr id="5" name="텍스트 개체 틀 4"/>
          <p:cNvSpPr>
            <a:spLocks noGrp="1"/>
          </p:cNvSpPr>
          <p:nvPr>
            <p:ph type="body" sz="quarter" idx="10"/>
          </p:nvPr>
        </p:nvSpPr>
        <p:spPr>
          <a:xfrm>
            <a:off x="720726" y="879477"/>
            <a:ext cx="7702550" cy="539605"/>
          </a:xfrm>
          <a:prstGeom prst="rect">
            <a:avLst/>
          </a:prstGeom>
        </p:spPr>
        <p:txBody>
          <a:bodyPr lIns="0" tIns="0" rIns="0" bIns="0" numCol="2" spcCol="216000"/>
          <a:lstStyle>
            <a:lvl1pPr marL="0" indent="0" algn="just">
              <a:buNone/>
              <a:defRPr lang="en-US" altLang="ko-KR" sz="60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342900" indent="0">
              <a:buNone/>
              <a:defRPr lang="ko-KR" altLang="en-US" sz="600" kern="1200" dirty="0" smtClean="0">
                <a:gradFill flip="none" rotWithShape="1">
                  <a:gsLst>
                    <a:gs pos="0">
                      <a:srgbClr val="2F3540"/>
                    </a:gs>
                    <a:gs pos="100000">
                      <a:srgbClr val="2F3540"/>
                    </a:gs>
                  </a:gsLst>
                  <a:lin ang="0" scaled="1"/>
                  <a:tileRect/>
                </a:gradFill>
                <a:latin typeface="Roboto Condensed Light"/>
                <a:ea typeface="+mn-ea"/>
                <a:cs typeface="+mn-cs"/>
              </a:defRPr>
            </a:lvl2pPr>
            <a:lvl3pPr marL="685800" indent="0">
              <a:buNone/>
              <a:defRPr lang="ko-KR" altLang="en-US" sz="600" kern="1200" dirty="0" smtClean="0">
                <a:gradFill flip="none" rotWithShape="1">
                  <a:gsLst>
                    <a:gs pos="0">
                      <a:srgbClr val="2F3540"/>
                    </a:gs>
                    <a:gs pos="100000">
                      <a:srgbClr val="2F3540"/>
                    </a:gs>
                  </a:gsLst>
                  <a:lin ang="0" scaled="1"/>
                  <a:tileRect/>
                </a:gradFill>
                <a:latin typeface="Roboto Condensed Light"/>
                <a:ea typeface="+mn-ea"/>
                <a:cs typeface="+mn-cs"/>
              </a:defRPr>
            </a:lvl3pPr>
            <a:lvl4pPr marL="1028700" indent="0">
              <a:buNone/>
              <a:defRPr lang="ko-KR" altLang="en-US" sz="600" kern="1200" dirty="0" smtClean="0">
                <a:gradFill flip="none" rotWithShape="1">
                  <a:gsLst>
                    <a:gs pos="0">
                      <a:srgbClr val="2F3540"/>
                    </a:gs>
                    <a:gs pos="100000">
                      <a:srgbClr val="2F3540"/>
                    </a:gs>
                  </a:gsLst>
                  <a:lin ang="0" scaled="1"/>
                  <a:tileRect/>
                </a:gradFill>
                <a:latin typeface="Roboto Condensed Light"/>
                <a:ea typeface="+mn-ea"/>
                <a:cs typeface="+mn-cs"/>
              </a:defRPr>
            </a:lvl4pPr>
            <a:lvl5pPr marL="1371600" indent="0">
              <a:buNone/>
              <a:defRPr lang="ko-KR" altLang="en-US" sz="600" kern="1200" dirty="0" smtClean="0">
                <a:gradFill flip="none" rotWithShape="1">
                  <a:gsLst>
                    <a:gs pos="0">
                      <a:srgbClr val="2F3540"/>
                    </a:gs>
                    <a:gs pos="100000">
                      <a:srgbClr val="2F3540"/>
                    </a:gs>
                  </a:gsLst>
                  <a:lin ang="0" scaled="1"/>
                  <a:tileRect/>
                </a:gradFill>
                <a:latin typeface="Roboto Condensed Light"/>
                <a:ea typeface="+mn-ea"/>
                <a:cs typeface="+mn-cs"/>
              </a:defRPr>
            </a:lvl5pPr>
          </a:lstStyle>
          <a:p>
            <a:pPr lvl="0"/>
            <a:r>
              <a:rPr lang="en-US" altLang="ko-KR"/>
              <a:t>Click to edit Master text styles</a:t>
            </a:r>
            <a:endParaRPr lang="en-US" altLang="ko-KR"/>
          </a:p>
        </p:txBody>
      </p:sp>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Tree>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showMasterSp="0" userDrawn="1">
  <p:cSld name="Slide Map">
    <p:bg>
      <p:bgPr>
        <a:solidFill>
          <a:schemeClr val="tx2"/>
        </a:solidFill>
        <a:effectLst/>
      </p:bgPr>
    </p:bg>
    <p:spTree>
      <p:nvGrpSpPr>
        <p:cNvPr id="1" name=""/>
        <p:cNvGrpSpPr/>
        <p:nvPr/>
      </p:nvGrpSpPr>
      <p:grpSpPr>
        <a:xfrm>
          <a:off x="0" y="0"/>
          <a:ext cx="0" cy="0"/>
          <a:chOff x="0" y="0"/>
          <a:chExt cx="0" cy="0"/>
        </a:xfrm>
      </p:grpSpPr>
      <p:sp>
        <p:nvSpPr>
          <p:cNvPr id="3" name="자유형 41">
            <a:hlinkClick r:id="" action="ppaction://hlinkshowjump?jump=lastslideviewed"/>
          </p:cNvPr>
          <p:cNvSpPr/>
          <p:nvPr userDrawn="1"/>
        </p:nvSpPr>
        <p:spPr>
          <a:xfrm>
            <a:off x="8244254" y="339328"/>
            <a:ext cx="180243" cy="180975"/>
          </a:xfrm>
          <a:custGeom>
            <a:avLst/>
            <a:gdLst>
              <a:gd name="connsiteX0" fmla="*/ 47410 w 180020"/>
              <a:gd name="connsiteY0" fmla="*/ 109200 h 180020"/>
              <a:gd name="connsiteX1" fmla="*/ 47410 w 180020"/>
              <a:gd name="connsiteY1" fmla="*/ 120154 h 180020"/>
              <a:gd name="connsiteX2" fmla="*/ 132611 w 180020"/>
              <a:gd name="connsiteY2" fmla="*/ 120154 h 180020"/>
              <a:gd name="connsiteX3" fmla="*/ 132611 w 180020"/>
              <a:gd name="connsiteY3" fmla="*/ 109200 h 180020"/>
              <a:gd name="connsiteX4" fmla="*/ 47410 w 180020"/>
              <a:gd name="connsiteY4" fmla="*/ 84533 h 180020"/>
              <a:gd name="connsiteX5" fmla="*/ 47410 w 180020"/>
              <a:gd name="connsiteY5" fmla="*/ 95487 h 180020"/>
              <a:gd name="connsiteX6" fmla="*/ 132611 w 180020"/>
              <a:gd name="connsiteY6" fmla="*/ 95487 h 180020"/>
              <a:gd name="connsiteX7" fmla="*/ 132611 w 180020"/>
              <a:gd name="connsiteY7" fmla="*/ 84533 h 180020"/>
              <a:gd name="connsiteX8" fmla="*/ 47410 w 180020"/>
              <a:gd name="connsiteY8" fmla="*/ 59866 h 180020"/>
              <a:gd name="connsiteX9" fmla="*/ 47410 w 180020"/>
              <a:gd name="connsiteY9" fmla="*/ 70820 h 180020"/>
              <a:gd name="connsiteX10" fmla="*/ 132611 w 180020"/>
              <a:gd name="connsiteY10" fmla="*/ 70820 h 180020"/>
              <a:gd name="connsiteX11" fmla="*/ 132611 w 180020"/>
              <a:gd name="connsiteY11" fmla="*/ 59866 h 180020"/>
              <a:gd name="connsiteX12" fmla="*/ 90010 w 180020"/>
              <a:gd name="connsiteY12" fmla="*/ 0 h 180020"/>
              <a:gd name="connsiteX13" fmla="*/ 180020 w 180020"/>
              <a:gd name="connsiteY13" fmla="*/ 90010 h 180020"/>
              <a:gd name="connsiteX14" fmla="*/ 90010 w 180020"/>
              <a:gd name="connsiteY14" fmla="*/ 180020 h 180020"/>
              <a:gd name="connsiteX15" fmla="*/ 0 w 180020"/>
              <a:gd name="connsiteY15" fmla="*/ 90010 h 180020"/>
              <a:gd name="connsiteX16" fmla="*/ 90010 w 180020"/>
              <a:gd name="connsiteY16" fmla="*/ 0 h 18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020" h="180020">
                <a:moveTo>
                  <a:pt x="47410" y="109200"/>
                </a:moveTo>
                <a:lnTo>
                  <a:pt x="47410" y="120154"/>
                </a:lnTo>
                <a:lnTo>
                  <a:pt x="132611" y="120154"/>
                </a:lnTo>
                <a:lnTo>
                  <a:pt x="132611" y="109200"/>
                </a:lnTo>
                <a:close/>
                <a:moveTo>
                  <a:pt x="47410" y="84533"/>
                </a:moveTo>
                <a:lnTo>
                  <a:pt x="47410" y="95487"/>
                </a:lnTo>
                <a:lnTo>
                  <a:pt x="132611" y="95487"/>
                </a:lnTo>
                <a:lnTo>
                  <a:pt x="132611" y="84533"/>
                </a:lnTo>
                <a:close/>
                <a:moveTo>
                  <a:pt x="47410" y="59866"/>
                </a:moveTo>
                <a:lnTo>
                  <a:pt x="47410" y="70820"/>
                </a:lnTo>
                <a:lnTo>
                  <a:pt x="132611" y="70820"/>
                </a:lnTo>
                <a:lnTo>
                  <a:pt x="132611" y="59866"/>
                </a:lnTo>
                <a:close/>
                <a:moveTo>
                  <a:pt x="90010" y="0"/>
                </a:moveTo>
                <a:cubicBezTo>
                  <a:pt x="139721" y="0"/>
                  <a:pt x="180020" y="40299"/>
                  <a:pt x="180020" y="90010"/>
                </a:cubicBezTo>
                <a:cubicBezTo>
                  <a:pt x="180020" y="139721"/>
                  <a:pt x="139721" y="180020"/>
                  <a:pt x="90010" y="180020"/>
                </a:cubicBezTo>
                <a:cubicBezTo>
                  <a:pt x="40299" y="180020"/>
                  <a:pt x="0" y="139721"/>
                  <a:pt x="0" y="90010"/>
                </a:cubicBezTo>
                <a:cubicBezTo>
                  <a:pt x="0" y="40299"/>
                  <a:pt x="40299" y="0"/>
                  <a:pt x="90010" y="0"/>
                </a:cubicBezTo>
                <a:close/>
              </a:path>
            </a:pathLst>
          </a:custGeom>
          <a:solidFill>
            <a:schemeClr val="accent1"/>
          </a:solidFill>
          <a:ln>
            <a:noFill/>
          </a:ln>
        </p:spPr>
        <p:style>
          <a:lnRef idx="2">
            <a:schemeClr val="dk1"/>
          </a:lnRef>
          <a:fillRef idx="1">
            <a:schemeClr val="lt1"/>
          </a:fillRef>
          <a:effectRef idx="0">
            <a:schemeClr val="dk1"/>
          </a:effectRef>
          <a:fontRef idx="minor">
            <a:schemeClr val="dk1"/>
          </a:fontRef>
        </p:style>
        <p:txBody>
          <a:bodyPr anchor="ctr"/>
          <a:lstStyle/>
          <a:p>
            <a:pPr algn="ctr" eaLnBrk="1" fontAlgn="auto" latinLnBrk="1" hangingPunct="1">
              <a:spcBef>
                <a:spcPts val="0"/>
              </a:spcBef>
              <a:spcAft>
                <a:spcPts val="0"/>
              </a:spcAft>
              <a:defRPr/>
            </a:pPr>
            <a:endParaRPr lang="en-US" dirty="0">
              <a:solidFill>
                <a:srgbClr val="000000"/>
              </a:solidFill>
            </a:endParaRPr>
          </a:p>
        </p:txBody>
      </p:sp>
      <p:sp>
        <p:nvSpPr>
          <p:cNvPr id="4" name="자유형 42">
            <a:hlinkClick r:id="" action="ppaction://hlinkshowjump?jump=nextslide"/>
          </p:cNvPr>
          <p:cNvSpPr/>
          <p:nvPr userDrawn="1"/>
        </p:nvSpPr>
        <p:spPr>
          <a:xfrm>
            <a:off x="8037635" y="339328"/>
            <a:ext cx="180242" cy="180975"/>
          </a:xfrm>
          <a:custGeom>
            <a:avLst/>
            <a:gdLst>
              <a:gd name="connsiteX0" fmla="*/ 70888 w 180020"/>
              <a:gd name="connsiteY0" fmla="*/ 36035 h 180020"/>
              <a:gd name="connsiteX1" fmla="*/ 70888 w 180020"/>
              <a:gd name="connsiteY1" fmla="*/ 53498 h 180020"/>
              <a:gd name="connsiteX2" fmla="*/ 115338 w 180020"/>
              <a:gd name="connsiteY2" fmla="*/ 90010 h 180020"/>
              <a:gd name="connsiteX3" fmla="*/ 70888 w 180020"/>
              <a:gd name="connsiteY3" fmla="*/ 126523 h 180020"/>
              <a:gd name="connsiteX4" fmla="*/ 70888 w 180020"/>
              <a:gd name="connsiteY4" fmla="*/ 143985 h 180020"/>
              <a:gd name="connsiteX5" fmla="*/ 135975 w 180020"/>
              <a:gd name="connsiteY5" fmla="*/ 90010 h 180020"/>
              <a:gd name="connsiteX6" fmla="*/ 90010 w 180020"/>
              <a:gd name="connsiteY6" fmla="*/ 0 h 180020"/>
              <a:gd name="connsiteX7" fmla="*/ 180020 w 180020"/>
              <a:gd name="connsiteY7" fmla="*/ 90010 h 180020"/>
              <a:gd name="connsiteX8" fmla="*/ 90010 w 180020"/>
              <a:gd name="connsiteY8" fmla="*/ 180020 h 180020"/>
              <a:gd name="connsiteX9" fmla="*/ 0 w 180020"/>
              <a:gd name="connsiteY9" fmla="*/ 90010 h 180020"/>
              <a:gd name="connsiteX10" fmla="*/ 90010 w 180020"/>
              <a:gd name="connsiteY10" fmla="*/ 0 h 18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0020" h="180020">
                <a:moveTo>
                  <a:pt x="70888" y="36035"/>
                </a:moveTo>
                <a:lnTo>
                  <a:pt x="70888" y="53498"/>
                </a:lnTo>
                <a:lnTo>
                  <a:pt x="115338" y="90010"/>
                </a:lnTo>
                <a:lnTo>
                  <a:pt x="70888" y="126523"/>
                </a:lnTo>
                <a:lnTo>
                  <a:pt x="70888" y="143985"/>
                </a:lnTo>
                <a:lnTo>
                  <a:pt x="135975" y="90010"/>
                </a:lnTo>
                <a:close/>
                <a:moveTo>
                  <a:pt x="90010" y="0"/>
                </a:moveTo>
                <a:cubicBezTo>
                  <a:pt x="139721" y="0"/>
                  <a:pt x="180020" y="40299"/>
                  <a:pt x="180020" y="90010"/>
                </a:cubicBezTo>
                <a:cubicBezTo>
                  <a:pt x="180020" y="139721"/>
                  <a:pt x="139721" y="180020"/>
                  <a:pt x="90010" y="180020"/>
                </a:cubicBezTo>
                <a:cubicBezTo>
                  <a:pt x="40299" y="180020"/>
                  <a:pt x="0" y="139721"/>
                  <a:pt x="0" y="90010"/>
                </a:cubicBezTo>
                <a:cubicBezTo>
                  <a:pt x="0" y="40299"/>
                  <a:pt x="40299" y="0"/>
                  <a:pt x="90010" y="0"/>
                </a:cubicBezTo>
                <a:close/>
              </a:path>
            </a:pathLst>
          </a:custGeom>
          <a:solidFill>
            <a:schemeClr val="bg1">
              <a:alpha val="20000"/>
            </a:schemeClr>
          </a:solidFill>
          <a:ln>
            <a:noFill/>
          </a:ln>
        </p:spPr>
        <p:style>
          <a:lnRef idx="2">
            <a:schemeClr val="dk1"/>
          </a:lnRef>
          <a:fillRef idx="1">
            <a:schemeClr val="lt1"/>
          </a:fillRef>
          <a:effectRef idx="0">
            <a:schemeClr val="dk1"/>
          </a:effectRef>
          <a:fontRef idx="minor">
            <a:schemeClr val="dk1"/>
          </a:fontRef>
        </p:style>
        <p:txBody>
          <a:bodyPr anchor="ctr"/>
          <a:lstStyle/>
          <a:p>
            <a:pPr algn="ctr" eaLnBrk="1" fontAlgn="auto" latinLnBrk="1" hangingPunct="1">
              <a:spcBef>
                <a:spcPts val="0"/>
              </a:spcBef>
              <a:spcAft>
                <a:spcPts val="0"/>
              </a:spcAft>
              <a:defRPr/>
            </a:pPr>
            <a:endParaRPr lang="en-US" dirty="0">
              <a:solidFill>
                <a:srgbClr val="000000"/>
              </a:solidFill>
            </a:endParaRPr>
          </a:p>
        </p:txBody>
      </p:sp>
      <p:sp>
        <p:nvSpPr>
          <p:cNvPr id="5" name="자유형 43">
            <a:hlinkClick r:id="" action="ppaction://hlinkshowjump?jump=previousslide"/>
          </p:cNvPr>
          <p:cNvSpPr/>
          <p:nvPr userDrawn="1"/>
        </p:nvSpPr>
        <p:spPr>
          <a:xfrm flipH="1">
            <a:off x="7831016" y="339328"/>
            <a:ext cx="180243" cy="180975"/>
          </a:xfrm>
          <a:custGeom>
            <a:avLst/>
            <a:gdLst>
              <a:gd name="connsiteX0" fmla="*/ 70889 w 180020"/>
              <a:gd name="connsiteY0" fmla="*/ 36035 h 180020"/>
              <a:gd name="connsiteX1" fmla="*/ 135976 w 180020"/>
              <a:gd name="connsiteY1" fmla="*/ 90010 h 180020"/>
              <a:gd name="connsiteX2" fmla="*/ 70889 w 180020"/>
              <a:gd name="connsiteY2" fmla="*/ 143985 h 180020"/>
              <a:gd name="connsiteX3" fmla="*/ 70889 w 180020"/>
              <a:gd name="connsiteY3" fmla="*/ 126523 h 180020"/>
              <a:gd name="connsiteX4" fmla="*/ 115339 w 180020"/>
              <a:gd name="connsiteY4" fmla="*/ 90010 h 180020"/>
              <a:gd name="connsiteX5" fmla="*/ 70889 w 180020"/>
              <a:gd name="connsiteY5" fmla="*/ 53498 h 180020"/>
              <a:gd name="connsiteX6" fmla="*/ 90010 w 180020"/>
              <a:gd name="connsiteY6" fmla="*/ 0 h 180020"/>
              <a:gd name="connsiteX7" fmla="*/ 0 w 180020"/>
              <a:gd name="connsiteY7" fmla="*/ 90010 h 180020"/>
              <a:gd name="connsiteX8" fmla="*/ 90010 w 180020"/>
              <a:gd name="connsiteY8" fmla="*/ 180020 h 180020"/>
              <a:gd name="connsiteX9" fmla="*/ 180020 w 180020"/>
              <a:gd name="connsiteY9" fmla="*/ 90010 h 180020"/>
              <a:gd name="connsiteX10" fmla="*/ 90010 w 180020"/>
              <a:gd name="connsiteY10" fmla="*/ 0 h 18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0020" h="180020">
                <a:moveTo>
                  <a:pt x="70889" y="36035"/>
                </a:moveTo>
                <a:lnTo>
                  <a:pt x="135976" y="90010"/>
                </a:lnTo>
                <a:lnTo>
                  <a:pt x="70889" y="143985"/>
                </a:lnTo>
                <a:lnTo>
                  <a:pt x="70889" y="126523"/>
                </a:lnTo>
                <a:lnTo>
                  <a:pt x="115339" y="90010"/>
                </a:lnTo>
                <a:lnTo>
                  <a:pt x="70889" y="53498"/>
                </a:lnTo>
                <a:close/>
                <a:moveTo>
                  <a:pt x="90010" y="0"/>
                </a:moveTo>
                <a:cubicBezTo>
                  <a:pt x="40299" y="0"/>
                  <a:pt x="0" y="40299"/>
                  <a:pt x="0" y="90010"/>
                </a:cubicBezTo>
                <a:cubicBezTo>
                  <a:pt x="0" y="139721"/>
                  <a:pt x="40299" y="180020"/>
                  <a:pt x="90010" y="180020"/>
                </a:cubicBezTo>
                <a:cubicBezTo>
                  <a:pt x="139721" y="180020"/>
                  <a:pt x="180020" y="139721"/>
                  <a:pt x="180020" y="90010"/>
                </a:cubicBezTo>
                <a:cubicBezTo>
                  <a:pt x="180020" y="40299"/>
                  <a:pt x="139721" y="0"/>
                  <a:pt x="90010" y="0"/>
                </a:cubicBezTo>
                <a:close/>
              </a:path>
            </a:pathLst>
          </a:custGeom>
          <a:solidFill>
            <a:schemeClr val="bg1">
              <a:alpha val="20000"/>
            </a:schemeClr>
          </a:solidFill>
          <a:ln>
            <a:noFill/>
          </a:ln>
        </p:spPr>
        <p:style>
          <a:lnRef idx="2">
            <a:schemeClr val="dk1"/>
          </a:lnRef>
          <a:fillRef idx="1">
            <a:schemeClr val="lt1"/>
          </a:fillRef>
          <a:effectRef idx="0">
            <a:schemeClr val="dk1"/>
          </a:effectRef>
          <a:fontRef idx="minor">
            <a:schemeClr val="dk1"/>
          </a:fontRef>
        </p:style>
        <p:txBody>
          <a:bodyPr anchor="ctr"/>
          <a:lstStyle/>
          <a:p>
            <a:pPr algn="ctr" eaLnBrk="1" fontAlgn="auto" latinLnBrk="1" hangingPunct="1">
              <a:spcBef>
                <a:spcPts val="0"/>
              </a:spcBef>
              <a:spcAft>
                <a:spcPts val="0"/>
              </a:spcAft>
              <a:defRPr/>
            </a:pPr>
            <a:endParaRPr lang="en-US" dirty="0">
              <a:solidFill>
                <a:srgbClr val="000000"/>
              </a:solidFill>
            </a:endParaRPr>
          </a:p>
        </p:txBody>
      </p:sp>
      <p:cxnSp>
        <p:nvCxnSpPr>
          <p:cNvPr id="6" name="직선 연결선 25"/>
          <p:cNvCxnSpPr/>
          <p:nvPr userDrawn="1"/>
        </p:nvCxnSpPr>
        <p:spPr>
          <a:xfrm>
            <a:off x="720969" y="742950"/>
            <a:ext cx="3238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720969" y="339329"/>
            <a:ext cx="7719646" cy="467915"/>
          </a:xfrm>
          <a:prstGeom prst="rect">
            <a:avLst/>
          </a:prstGeom>
        </p:spPr>
        <p:txBody>
          <a:bodyPr/>
          <a:lstStyle>
            <a:lvl1pPr>
              <a:defRPr>
                <a:gradFill flip="none" rotWithShape="1">
                  <a:gsLst>
                    <a:gs pos="0">
                      <a:schemeClr val="bg2"/>
                    </a:gs>
                    <a:gs pos="100000">
                      <a:schemeClr val="bg2"/>
                    </a:gs>
                  </a:gsLst>
                  <a:lin ang="0" scaled="1"/>
                  <a:tileRect/>
                </a:gradFill>
              </a:defRPr>
            </a:lvl1pPr>
          </a:lstStyle>
          <a:p>
            <a:r>
              <a:rPr lang="en-US"/>
              <a:t>Click to edit Master title style</a:t>
            </a:r>
            <a:endParaRPr lang="en-US" dirty="0"/>
          </a:p>
        </p:txBody>
      </p:sp>
    </p:spTree>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showMasterSp="0" userDrawn="1">
  <p:cSld name="Section Break">
    <p:bg>
      <p:bgPr>
        <a:solidFill>
          <a:srgbClr val="FFFFFF"/>
        </a:solidFill>
        <a:effectLst/>
      </p:bgPr>
    </p:bg>
    <p:spTree>
      <p:nvGrpSpPr>
        <p:cNvPr id="1" name=""/>
        <p:cNvGrpSpPr/>
        <p:nvPr/>
      </p:nvGrpSpPr>
      <p:grpSpPr>
        <a:xfrm>
          <a:off x="0" y="0"/>
          <a:ext cx="0" cy="0"/>
          <a:chOff x="0" y="0"/>
          <a:chExt cx="0" cy="0"/>
        </a:xfrm>
      </p:grpSpPr>
      <p:sp>
        <p:nvSpPr>
          <p:cNvPr id="5" name="그림 개체 틀 4"/>
          <p:cNvSpPr>
            <a:spLocks noGrp="1"/>
          </p:cNvSpPr>
          <p:nvPr>
            <p:ph type="pic" sz="quarter" idx="10"/>
          </p:nvPr>
        </p:nvSpPr>
        <p:spPr>
          <a:xfrm>
            <a:off x="0" y="450"/>
            <a:ext cx="9144000" cy="5143500"/>
          </a:xfrm>
          <a:prstGeom prst="rect">
            <a:avLst/>
          </a:prstGeom>
        </p:spPr>
        <p:txBody>
          <a:bodyPr anchor="ctr"/>
          <a:lstStyle>
            <a:lvl1pPr marL="0" indent="0" algn="ctr">
              <a:buNone/>
              <a:defRPr sz="750">
                <a:solidFill>
                  <a:srgbClr val="2F3540"/>
                </a:solidFill>
              </a:defRPr>
            </a:lvl1pPr>
          </a:lstStyle>
          <a:p>
            <a:pPr lvl="0"/>
            <a:r>
              <a:rPr lang="en-US" altLang="ko-KR" noProof="0"/>
              <a:t>Click icon to add picture</a:t>
            </a:r>
            <a:endParaRPr lang="ko-KR" altLang="en-US" noProof="0" dirty="0"/>
          </a:p>
        </p:txBody>
      </p:sp>
    </p:spTree>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showMasterSp="0" userDrawn="1">
  <p:cSld name="none">
    <p:spTree>
      <p:nvGrpSpPr>
        <p:cNvPr id="1" name=""/>
        <p:cNvGrpSpPr/>
        <p:nvPr/>
      </p:nvGrpSpPr>
      <p:grpSpPr>
        <a:xfrm>
          <a:off x="0" y="0"/>
          <a:ext cx="0" cy="0"/>
          <a:chOff x="0" y="0"/>
          <a:chExt cx="0" cy="0"/>
        </a:xfrm>
      </p:grpSpPr>
    </p:spTree>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Our Team : type 1">
    <p:spTree>
      <p:nvGrpSpPr>
        <p:cNvPr id="1" name=""/>
        <p:cNvGrpSpPr/>
        <p:nvPr/>
      </p:nvGrpSpPr>
      <p:grpSpPr>
        <a:xfrm>
          <a:off x="0" y="0"/>
          <a:ext cx="0" cy="0"/>
          <a:chOff x="0" y="0"/>
          <a:chExt cx="0" cy="0"/>
        </a:xfrm>
      </p:grpSpPr>
      <p:graphicFrame>
        <p:nvGraphicFramePr>
          <p:cNvPr id="35" name="Object 289"/>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
                  <p:embed/>
                </p:oleObj>
              </mc:Choice>
              <mc:Fallback>
                <p:oleObj name="think-cell Slide" r:id="rId3" imgW="12700" imgH="12700" progId="">
                  <p:embed/>
                  <p:pic>
                    <p:nvPicPr>
                      <p:cNvPr id="0" name="Object 28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Oval 8"/>
          <p:cNvSpPr/>
          <p:nvPr userDrawn="1"/>
        </p:nvSpPr>
        <p:spPr>
          <a:xfrm flipH="1">
            <a:off x="8244254" y="4866085"/>
            <a:ext cx="211015" cy="171450"/>
          </a:xfrm>
          <a:prstGeom prst="ellipse">
            <a:avLst/>
          </a:prstGeom>
          <a:solidFill>
            <a:schemeClr val="tx2">
              <a:alpha val="25000"/>
            </a:schemeClr>
          </a:solidFill>
          <a:ln>
            <a:noFill/>
          </a:ln>
        </p:spPr>
        <p:style>
          <a:lnRef idx="2">
            <a:schemeClr val="dk1"/>
          </a:lnRef>
          <a:fillRef idx="1">
            <a:schemeClr val="lt1"/>
          </a:fillRef>
          <a:effectRef idx="0">
            <a:schemeClr val="dk1"/>
          </a:effectRef>
          <a:fontRef idx="minor">
            <a:schemeClr val="dk1"/>
          </a:fontRef>
        </p:style>
        <p:txBody>
          <a:bodyPr lIns="0" tIns="0" rIns="0" bIns="8100" anchor="ctr"/>
          <a:lstStyle/>
          <a:p>
            <a:pPr algn="ctr" eaLnBrk="1" fontAlgn="auto" latinLnBrk="1" hangingPunct="1">
              <a:spcBef>
                <a:spcPts val="0"/>
              </a:spcBef>
              <a:spcAft>
                <a:spcPts val="0"/>
              </a:spcAft>
              <a:defRPr/>
            </a:pPr>
            <a:endParaRPr lang="en-US" sz="675" dirty="0">
              <a:gradFill flip="none" rotWithShape="1">
                <a:gsLst>
                  <a:gs pos="0">
                    <a:srgbClr val="FFFFFF"/>
                  </a:gs>
                  <a:gs pos="100000">
                    <a:srgbClr val="FFFFFF"/>
                  </a:gs>
                </a:gsLst>
                <a:lin ang="0" scaled="1"/>
                <a:tileRect/>
              </a:gradFill>
              <a:latin typeface="Bebas Neue"/>
            </a:endParaRPr>
          </a:p>
        </p:txBody>
      </p:sp>
      <p:cxnSp>
        <p:nvCxnSpPr>
          <p:cNvPr id="37" name="직선 연결선 25"/>
          <p:cNvCxnSpPr/>
          <p:nvPr/>
        </p:nvCxnSpPr>
        <p:spPr>
          <a:xfrm>
            <a:off x="720969" y="742950"/>
            <a:ext cx="3238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슬라이드 번호 개체 틀 4"/>
          <p:cNvSpPr txBox="1"/>
          <p:nvPr/>
        </p:nvSpPr>
        <p:spPr>
          <a:xfrm>
            <a:off x="8127024" y="4867275"/>
            <a:ext cx="413238" cy="179785"/>
          </a:xfrm>
          <a:prstGeom prst="rect">
            <a:avLst/>
          </a:prstGeom>
        </p:spPr>
        <p:txBody>
          <a:bodyPr tIns="0" bIns="0" anchor="ctr"/>
          <a:lstStyle>
            <a:lvl1pPr eaLnBrk="0" hangingPunct="0">
              <a:defRPr>
                <a:solidFill>
                  <a:schemeClr val="tx1"/>
                </a:solidFill>
                <a:latin typeface="Arial" panose="020B0604020202020204" pitchFamily="34" charset="0"/>
                <a:ea typeface="Roboto Condensed Light"/>
                <a:cs typeface="Roboto Condensed Light"/>
              </a:defRPr>
            </a:lvl1pPr>
            <a:lvl2pPr marL="742950" indent="-285750" eaLnBrk="0" hangingPunct="0">
              <a:defRPr>
                <a:solidFill>
                  <a:schemeClr val="tx1"/>
                </a:solidFill>
                <a:latin typeface="Arial" panose="020B0604020202020204" pitchFamily="34" charset="0"/>
                <a:ea typeface="Roboto Condensed Light"/>
                <a:cs typeface="Roboto Condensed Light"/>
              </a:defRPr>
            </a:lvl2pPr>
            <a:lvl3pPr marL="1143000" indent="-228600" eaLnBrk="0" hangingPunct="0">
              <a:defRPr>
                <a:solidFill>
                  <a:schemeClr val="tx1"/>
                </a:solidFill>
                <a:latin typeface="Arial" panose="020B0604020202020204" pitchFamily="34" charset="0"/>
                <a:ea typeface="Roboto Condensed Light"/>
                <a:cs typeface="Roboto Condensed Light"/>
              </a:defRPr>
            </a:lvl3pPr>
            <a:lvl4pPr marL="1600200" indent="-228600" eaLnBrk="0" hangingPunct="0">
              <a:defRPr>
                <a:solidFill>
                  <a:schemeClr val="tx1"/>
                </a:solidFill>
                <a:latin typeface="Arial" panose="020B0604020202020204" pitchFamily="34" charset="0"/>
                <a:ea typeface="Roboto Condensed Light"/>
                <a:cs typeface="Roboto Condensed Light"/>
              </a:defRPr>
            </a:lvl4pPr>
            <a:lvl5pPr marL="2057400" indent="-228600" eaLnBrk="0" hangingPunct="0">
              <a:defRPr>
                <a:solidFill>
                  <a:schemeClr val="tx1"/>
                </a:solidFill>
                <a:latin typeface="Arial" panose="020B0604020202020204" pitchFamily="34" charset="0"/>
                <a:ea typeface="Roboto Condensed Light"/>
                <a:cs typeface="Roboto Condensed Light"/>
              </a:defRPr>
            </a:lvl5pPr>
            <a:lvl6pPr marL="25146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6pPr>
            <a:lvl7pPr marL="29718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7pPr>
            <a:lvl8pPr marL="34290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8pPr>
            <a:lvl9pPr marL="38862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9pPr>
          </a:lstStyle>
          <a:p>
            <a:pPr algn="ctr" eaLnBrk="1" latinLnBrk="1" hangingPunct="1">
              <a:defRPr/>
            </a:pPr>
            <a:fld id="{77512B93-17F5-40D4-A2C3-64275B98A16B}" type="slidenum">
              <a:rPr lang="ko-KR" altLang="en-US" sz="675" b="1" smtClean="0">
                <a:solidFill>
                  <a:srgbClr val="FFFFFF"/>
                </a:solidFill>
                <a:latin typeface="Roboto Condensed Regular"/>
              </a:rPr>
            </a:fld>
            <a:endParaRPr lang="ko-KR" altLang="en-US" sz="675" b="1">
              <a:solidFill>
                <a:srgbClr val="FFFFFF"/>
              </a:solidFill>
              <a:latin typeface="Roboto Condensed Regular"/>
            </a:endParaRPr>
          </a:p>
        </p:txBody>
      </p:sp>
      <p:cxnSp>
        <p:nvCxnSpPr>
          <p:cNvPr id="39" name="직선 연결선 34"/>
          <p:cNvCxnSpPr/>
          <p:nvPr userDrawn="1"/>
        </p:nvCxnSpPr>
        <p:spPr>
          <a:xfrm>
            <a:off x="1462454" y="3533775"/>
            <a:ext cx="28135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직선 연결선 35"/>
          <p:cNvCxnSpPr/>
          <p:nvPr userDrawn="1"/>
        </p:nvCxnSpPr>
        <p:spPr>
          <a:xfrm>
            <a:off x="3443654" y="3533775"/>
            <a:ext cx="28135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직선 연결선 36"/>
          <p:cNvCxnSpPr/>
          <p:nvPr userDrawn="1"/>
        </p:nvCxnSpPr>
        <p:spPr>
          <a:xfrm>
            <a:off x="5424854" y="3533775"/>
            <a:ext cx="28135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직선 연결선 37"/>
          <p:cNvCxnSpPr/>
          <p:nvPr userDrawn="1"/>
        </p:nvCxnSpPr>
        <p:spPr>
          <a:xfrm>
            <a:off x="7406054" y="3533775"/>
            <a:ext cx="28135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그림 개체 틀 7"/>
          <p:cNvSpPr>
            <a:spLocks noGrp="1"/>
          </p:cNvSpPr>
          <p:nvPr>
            <p:ph type="pic" sz="quarter" idx="10"/>
          </p:nvPr>
        </p:nvSpPr>
        <p:spPr>
          <a:xfrm>
            <a:off x="720726" y="992611"/>
            <a:ext cx="1763712" cy="1872801"/>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9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5" name="그림 개체 틀 7"/>
          <p:cNvSpPr>
            <a:spLocks noGrp="1"/>
          </p:cNvSpPr>
          <p:nvPr>
            <p:ph type="pic" sz="quarter" idx="11"/>
          </p:nvPr>
        </p:nvSpPr>
        <p:spPr>
          <a:xfrm>
            <a:off x="2700338" y="992611"/>
            <a:ext cx="1763712" cy="1872801"/>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9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6" name="그림 개체 틀 7"/>
          <p:cNvSpPr>
            <a:spLocks noGrp="1"/>
          </p:cNvSpPr>
          <p:nvPr>
            <p:ph type="pic" sz="quarter" idx="12"/>
          </p:nvPr>
        </p:nvSpPr>
        <p:spPr>
          <a:xfrm>
            <a:off x="4679950" y="992611"/>
            <a:ext cx="1763712" cy="1872801"/>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9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7" name="그림 개체 틀 7"/>
          <p:cNvSpPr>
            <a:spLocks noGrp="1"/>
          </p:cNvSpPr>
          <p:nvPr>
            <p:ph type="pic" sz="quarter" idx="13"/>
          </p:nvPr>
        </p:nvSpPr>
        <p:spPr>
          <a:xfrm>
            <a:off x="6659563" y="992610"/>
            <a:ext cx="1763712" cy="1872000"/>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9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
        <p:nvSpPr>
          <p:cNvPr id="42" name="텍스트 개체 틀 32"/>
          <p:cNvSpPr>
            <a:spLocks noGrp="1"/>
          </p:cNvSpPr>
          <p:nvPr>
            <p:ph type="body" sz="quarter" idx="15"/>
          </p:nvPr>
        </p:nvSpPr>
        <p:spPr>
          <a:xfrm>
            <a:off x="720726" y="3248974"/>
            <a:ext cx="1763712" cy="209207"/>
          </a:xfrm>
          <a:prstGeom prst="rect">
            <a:avLst/>
          </a:prstGeom>
        </p:spPr>
        <p:txBody>
          <a:bodyPr lIns="0" tIns="0" rIns="0" bIns="0"/>
          <a:lstStyle>
            <a:lvl1pPr marL="0" indent="0" algn="ctr">
              <a:buFont typeface="Arial" panose="020B0604020202020204" pitchFamily="34" charset="0"/>
              <a:buNone/>
              <a:defRPr lang="ko-KR" altLang="en-US" sz="750"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44" name="텍스트 개체 틀 30"/>
          <p:cNvSpPr>
            <a:spLocks noGrp="1"/>
          </p:cNvSpPr>
          <p:nvPr>
            <p:ph type="body" sz="quarter" idx="14"/>
          </p:nvPr>
        </p:nvSpPr>
        <p:spPr>
          <a:xfrm>
            <a:off x="720726" y="2991594"/>
            <a:ext cx="1763712" cy="257380"/>
          </a:xfrm>
          <a:prstGeom prst="rect">
            <a:avLst/>
          </a:prstGeom>
        </p:spPr>
        <p:txBody>
          <a:bodyPr lIns="0" tIns="0" rIns="0" bIns="0"/>
          <a:lstStyle>
            <a:lvl1pPr marL="0" indent="0" algn="ctr">
              <a:buFont typeface="Arial" panose="020B0604020202020204" pitchFamily="34" charset="0"/>
              <a:buNone/>
              <a:defRPr lang="ko-KR" altLang="en-US" sz="1125"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45" name="텍스트 개체 틀 34"/>
          <p:cNvSpPr>
            <a:spLocks noGrp="1"/>
          </p:cNvSpPr>
          <p:nvPr>
            <p:ph type="body" sz="quarter" idx="16"/>
          </p:nvPr>
        </p:nvSpPr>
        <p:spPr>
          <a:xfrm>
            <a:off x="720726" y="3653254"/>
            <a:ext cx="1763712" cy="667519"/>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46" name="텍스트 개체 틀 32"/>
          <p:cNvSpPr>
            <a:spLocks noGrp="1"/>
          </p:cNvSpPr>
          <p:nvPr>
            <p:ph type="body" sz="quarter" idx="24"/>
          </p:nvPr>
        </p:nvSpPr>
        <p:spPr>
          <a:xfrm>
            <a:off x="4683508" y="3248974"/>
            <a:ext cx="1763712" cy="209207"/>
          </a:xfrm>
          <a:prstGeom prst="rect">
            <a:avLst/>
          </a:prstGeom>
        </p:spPr>
        <p:txBody>
          <a:bodyPr lIns="0" tIns="0" rIns="0" bIns="0"/>
          <a:lstStyle>
            <a:lvl1pPr marL="0" indent="0" algn="ctr">
              <a:buNone/>
              <a:defRPr lang="ko-KR" altLang="en-US" sz="750"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47" name="텍스트 개체 틀 30"/>
          <p:cNvSpPr>
            <a:spLocks noGrp="1"/>
          </p:cNvSpPr>
          <p:nvPr>
            <p:ph type="body" sz="quarter" idx="25"/>
          </p:nvPr>
        </p:nvSpPr>
        <p:spPr>
          <a:xfrm>
            <a:off x="4683508" y="2991594"/>
            <a:ext cx="1763712" cy="257380"/>
          </a:xfrm>
          <a:prstGeom prst="rect">
            <a:avLst/>
          </a:prstGeom>
        </p:spPr>
        <p:txBody>
          <a:bodyPr lIns="0" tIns="0" rIns="0" bIns="0"/>
          <a:lstStyle>
            <a:lvl1pPr marL="0" indent="0" algn="ctr">
              <a:buNone/>
              <a:defRPr lang="ko-KR" altLang="en-US" sz="1125"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48" name="텍스트 개체 틀 34"/>
          <p:cNvSpPr>
            <a:spLocks noGrp="1"/>
          </p:cNvSpPr>
          <p:nvPr>
            <p:ph type="body" sz="quarter" idx="26"/>
          </p:nvPr>
        </p:nvSpPr>
        <p:spPr>
          <a:xfrm>
            <a:off x="4683508" y="3653254"/>
            <a:ext cx="1763712" cy="667519"/>
          </a:xfrm>
          <a:prstGeom prst="rect">
            <a:avLst/>
          </a:prstGeom>
        </p:spPr>
        <p:txBody>
          <a:bodyPr lIns="0" tIns="0" rIns="0" bIns="0"/>
          <a:lstStyle>
            <a:lvl1pPr marL="0" indent="0" algn="ctr">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49" name="텍스트 개체 틀 32"/>
          <p:cNvSpPr>
            <a:spLocks noGrp="1"/>
          </p:cNvSpPr>
          <p:nvPr>
            <p:ph type="body" sz="quarter" idx="27"/>
          </p:nvPr>
        </p:nvSpPr>
        <p:spPr>
          <a:xfrm>
            <a:off x="6664898" y="3248974"/>
            <a:ext cx="1763712" cy="209207"/>
          </a:xfrm>
          <a:prstGeom prst="rect">
            <a:avLst/>
          </a:prstGeom>
        </p:spPr>
        <p:txBody>
          <a:bodyPr lIns="0" tIns="0" rIns="0" bIns="0"/>
          <a:lstStyle>
            <a:lvl1pPr marL="0" indent="0" algn="ctr">
              <a:buNone/>
              <a:defRPr lang="ko-KR" altLang="en-US" sz="750"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50" name="텍스트 개체 틀 30"/>
          <p:cNvSpPr>
            <a:spLocks noGrp="1"/>
          </p:cNvSpPr>
          <p:nvPr>
            <p:ph type="body" sz="quarter" idx="28"/>
          </p:nvPr>
        </p:nvSpPr>
        <p:spPr>
          <a:xfrm>
            <a:off x="6664898" y="2991594"/>
            <a:ext cx="1763712" cy="257380"/>
          </a:xfrm>
          <a:prstGeom prst="rect">
            <a:avLst/>
          </a:prstGeom>
        </p:spPr>
        <p:txBody>
          <a:bodyPr lIns="0" tIns="0" rIns="0" bIns="0"/>
          <a:lstStyle>
            <a:lvl1pPr marL="0" indent="0" algn="ctr">
              <a:buNone/>
              <a:defRPr lang="ko-KR" altLang="en-US" sz="1125"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51" name="텍스트 개체 틀 34"/>
          <p:cNvSpPr>
            <a:spLocks noGrp="1"/>
          </p:cNvSpPr>
          <p:nvPr>
            <p:ph type="body" sz="quarter" idx="29"/>
          </p:nvPr>
        </p:nvSpPr>
        <p:spPr>
          <a:xfrm>
            <a:off x="6664898" y="3653254"/>
            <a:ext cx="1763712" cy="667519"/>
          </a:xfrm>
          <a:prstGeom prst="rect">
            <a:avLst/>
          </a:prstGeom>
        </p:spPr>
        <p:txBody>
          <a:bodyPr lIns="0" tIns="0" rIns="0" bIns="0"/>
          <a:lstStyle>
            <a:lvl1pPr marL="0" indent="0" algn="ctr">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67" name="텍스트 개체 틀 133"/>
          <p:cNvSpPr>
            <a:spLocks noGrp="1"/>
          </p:cNvSpPr>
          <p:nvPr>
            <p:ph type="body" sz="quarter" idx="42"/>
          </p:nvPr>
        </p:nvSpPr>
        <p:spPr>
          <a:xfrm>
            <a:off x="2702117" y="2991594"/>
            <a:ext cx="1763712" cy="257380"/>
          </a:xfrm>
          <a:prstGeom prst="rect">
            <a:avLst/>
          </a:prstGeom>
        </p:spPr>
        <p:txBody>
          <a:bodyPr lIns="0" tIns="0" rIns="0" bIns="0"/>
          <a:lstStyle>
            <a:lvl1pPr marL="0" indent="0" algn="ctr">
              <a:buFont typeface="Arial" panose="020B0604020202020204" pitchFamily="34" charset="0"/>
              <a:buNone/>
              <a:defRPr lang="ko-KR" altLang="en-US" sz="1125" b="1" kern="1200" dirty="0" smtClean="0">
                <a:gradFill>
                  <a:gsLst>
                    <a:gs pos="0">
                      <a:schemeClr val="tx2"/>
                    </a:gs>
                    <a:gs pos="100000">
                      <a:schemeClr val="tx2"/>
                    </a:gs>
                  </a:gsLst>
                  <a:lin ang="5400000" scaled="0"/>
                </a:gradFill>
                <a:latin typeface="Roboto Condensed Regular"/>
                <a:ea typeface="Roboto Light" pitchFamily="2" charset="0"/>
                <a:cs typeface="Roboto Condensed Regular"/>
              </a:defRPr>
            </a:lvl1pPr>
            <a:lvl2pPr>
              <a:defRPr lang="ko-KR" altLang="en-US" sz="1125" b="1" kern="1200" dirty="0" smtClean="0">
                <a:gradFill>
                  <a:gsLst>
                    <a:gs pos="0">
                      <a:schemeClr val="tx2"/>
                    </a:gs>
                    <a:gs pos="100000">
                      <a:schemeClr val="tx2"/>
                    </a:gs>
                  </a:gsLst>
                  <a:lin ang="5400000" scaled="0"/>
                </a:gradFill>
                <a:latin typeface="Roboto Condensed Regular"/>
                <a:ea typeface="Roboto Light" pitchFamily="2" charset="0"/>
                <a:cs typeface="Roboto Condensed Regular"/>
              </a:defRPr>
            </a:lvl2pPr>
            <a:lvl3pPr>
              <a:defRPr lang="ko-KR" altLang="en-US" sz="1125" b="1" kern="1200" dirty="0" smtClean="0">
                <a:gradFill>
                  <a:gsLst>
                    <a:gs pos="0">
                      <a:schemeClr val="tx2"/>
                    </a:gs>
                    <a:gs pos="100000">
                      <a:schemeClr val="tx2"/>
                    </a:gs>
                  </a:gsLst>
                  <a:lin ang="5400000" scaled="0"/>
                </a:gradFill>
                <a:latin typeface="Roboto Condensed Regular"/>
                <a:ea typeface="Roboto Light" pitchFamily="2" charset="0"/>
                <a:cs typeface="Roboto Condensed Regular"/>
              </a:defRPr>
            </a:lvl3pPr>
            <a:lvl4pPr>
              <a:defRPr lang="ko-KR" altLang="en-US" sz="1125" b="1" kern="1200" dirty="0" smtClean="0">
                <a:gradFill>
                  <a:gsLst>
                    <a:gs pos="0">
                      <a:schemeClr val="tx2"/>
                    </a:gs>
                    <a:gs pos="100000">
                      <a:schemeClr val="tx2"/>
                    </a:gs>
                  </a:gsLst>
                  <a:lin ang="5400000" scaled="0"/>
                </a:gradFill>
                <a:latin typeface="Roboto Condensed Regular"/>
                <a:ea typeface="Roboto Light" pitchFamily="2" charset="0"/>
                <a:cs typeface="Roboto Condensed Regular"/>
              </a:defRPr>
            </a:lvl4pPr>
            <a:lvl5pPr>
              <a:defRPr lang="ko-KR" altLang="en-US" sz="1125"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5pPr>
          </a:lstStyle>
          <a:p>
            <a:pPr lvl="0"/>
            <a:r>
              <a:rPr lang="en-US" altLang="ko-KR"/>
              <a:t>Click to edit Master text styles</a:t>
            </a:r>
            <a:endParaRPr lang="en-US" altLang="ko-KR"/>
          </a:p>
        </p:txBody>
      </p:sp>
      <p:sp>
        <p:nvSpPr>
          <p:cNvPr id="68" name="텍스트 개체 틀 135"/>
          <p:cNvSpPr>
            <a:spLocks noGrp="1"/>
          </p:cNvSpPr>
          <p:nvPr>
            <p:ph type="body" sz="quarter" idx="43"/>
          </p:nvPr>
        </p:nvSpPr>
        <p:spPr>
          <a:xfrm>
            <a:off x="2702117" y="3248974"/>
            <a:ext cx="1763712" cy="209207"/>
          </a:xfrm>
          <a:prstGeom prst="rect">
            <a:avLst/>
          </a:prstGeom>
        </p:spPr>
        <p:txBody>
          <a:bodyPr lIns="0" tIns="0" rIns="0" bIns="0"/>
          <a:lstStyle>
            <a:lvl1pPr marL="0" indent="0" algn="ctr">
              <a:buFont typeface="Arial" panose="020B0604020202020204" pitchFamily="34" charset="0"/>
              <a:buNone/>
              <a:defRPr lang="ko-KR" altLang="en-US" sz="750"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stStyle>
          <a:p>
            <a:pPr lvl="0"/>
            <a:r>
              <a:rPr lang="en-US" altLang="ko-KR"/>
              <a:t>Click to edit Master text styles</a:t>
            </a:r>
            <a:endParaRPr lang="en-US" altLang="ko-KR"/>
          </a:p>
        </p:txBody>
      </p:sp>
      <p:sp>
        <p:nvSpPr>
          <p:cNvPr id="69" name="텍스트 개체 틀 137"/>
          <p:cNvSpPr>
            <a:spLocks noGrp="1"/>
          </p:cNvSpPr>
          <p:nvPr>
            <p:ph type="body" sz="quarter" idx="44"/>
          </p:nvPr>
        </p:nvSpPr>
        <p:spPr>
          <a:xfrm>
            <a:off x="2702117" y="3653254"/>
            <a:ext cx="1763712" cy="667519"/>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stStyle>
          <a:p>
            <a:pPr lvl="0"/>
            <a:r>
              <a:rPr lang="en-US" altLang="ko-KR"/>
              <a:t>Click to edit Master text styles</a:t>
            </a:r>
            <a:endParaRPr lang="en-US" altLang="ko-KR"/>
          </a:p>
        </p:txBody>
      </p:sp>
      <p:sp>
        <p:nvSpPr>
          <p:cNvPr id="10" name="텍스트 개체 틀 9"/>
          <p:cNvSpPr>
            <a:spLocks noGrp="1"/>
          </p:cNvSpPr>
          <p:nvPr>
            <p:ph type="body" sz="quarter" idx="69"/>
          </p:nvPr>
        </p:nvSpPr>
        <p:spPr>
          <a:xfrm>
            <a:off x="1008941"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88" name="텍스트 개체 틀 9"/>
          <p:cNvSpPr>
            <a:spLocks noGrp="1"/>
          </p:cNvSpPr>
          <p:nvPr>
            <p:ph type="body" sz="quarter" idx="70"/>
          </p:nvPr>
        </p:nvSpPr>
        <p:spPr>
          <a:xfrm>
            <a:off x="1320702"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89" name="텍스트 개체 틀 9"/>
          <p:cNvSpPr>
            <a:spLocks noGrp="1"/>
          </p:cNvSpPr>
          <p:nvPr>
            <p:ph type="body" sz="quarter" idx="71"/>
          </p:nvPr>
        </p:nvSpPr>
        <p:spPr>
          <a:xfrm>
            <a:off x="1632463"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0" name="텍스트 개체 틀 9"/>
          <p:cNvSpPr>
            <a:spLocks noGrp="1"/>
          </p:cNvSpPr>
          <p:nvPr>
            <p:ph type="body" sz="quarter" idx="72"/>
          </p:nvPr>
        </p:nvSpPr>
        <p:spPr>
          <a:xfrm>
            <a:off x="1944224"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1" name="텍스트 개체 틀 9"/>
          <p:cNvSpPr>
            <a:spLocks noGrp="1"/>
          </p:cNvSpPr>
          <p:nvPr>
            <p:ph type="body" sz="quarter" idx="73"/>
          </p:nvPr>
        </p:nvSpPr>
        <p:spPr>
          <a:xfrm>
            <a:off x="2990332"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2" name="텍스트 개체 틀 9"/>
          <p:cNvSpPr>
            <a:spLocks noGrp="1"/>
          </p:cNvSpPr>
          <p:nvPr>
            <p:ph type="body" sz="quarter" idx="74"/>
          </p:nvPr>
        </p:nvSpPr>
        <p:spPr>
          <a:xfrm>
            <a:off x="3302093"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3" name="텍스트 개체 틀 9"/>
          <p:cNvSpPr>
            <a:spLocks noGrp="1"/>
          </p:cNvSpPr>
          <p:nvPr>
            <p:ph type="body" sz="quarter" idx="75"/>
          </p:nvPr>
        </p:nvSpPr>
        <p:spPr>
          <a:xfrm>
            <a:off x="3613854"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4" name="텍스트 개체 틀 9"/>
          <p:cNvSpPr>
            <a:spLocks noGrp="1"/>
          </p:cNvSpPr>
          <p:nvPr>
            <p:ph type="body" sz="quarter" idx="76"/>
          </p:nvPr>
        </p:nvSpPr>
        <p:spPr>
          <a:xfrm>
            <a:off x="3925615"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9" name="텍스트 개체 틀 9"/>
          <p:cNvSpPr>
            <a:spLocks noGrp="1"/>
          </p:cNvSpPr>
          <p:nvPr>
            <p:ph type="body" sz="quarter" idx="77"/>
          </p:nvPr>
        </p:nvSpPr>
        <p:spPr>
          <a:xfrm>
            <a:off x="4971723"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100" name="텍스트 개체 틀 9"/>
          <p:cNvSpPr>
            <a:spLocks noGrp="1"/>
          </p:cNvSpPr>
          <p:nvPr>
            <p:ph type="body" sz="quarter" idx="78"/>
          </p:nvPr>
        </p:nvSpPr>
        <p:spPr>
          <a:xfrm>
            <a:off x="5283484"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101" name="텍스트 개체 틀 9"/>
          <p:cNvSpPr>
            <a:spLocks noGrp="1"/>
          </p:cNvSpPr>
          <p:nvPr>
            <p:ph type="body" sz="quarter" idx="79"/>
          </p:nvPr>
        </p:nvSpPr>
        <p:spPr>
          <a:xfrm>
            <a:off x="5595245"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102" name="텍스트 개체 틀 9"/>
          <p:cNvSpPr>
            <a:spLocks noGrp="1"/>
          </p:cNvSpPr>
          <p:nvPr>
            <p:ph type="body" sz="quarter" idx="80"/>
          </p:nvPr>
        </p:nvSpPr>
        <p:spPr>
          <a:xfrm>
            <a:off x="5907006"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103" name="텍스트 개체 틀 9"/>
          <p:cNvSpPr>
            <a:spLocks noGrp="1"/>
          </p:cNvSpPr>
          <p:nvPr>
            <p:ph type="body" sz="quarter" idx="81"/>
          </p:nvPr>
        </p:nvSpPr>
        <p:spPr>
          <a:xfrm>
            <a:off x="6953113"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104" name="텍스트 개체 틀 9"/>
          <p:cNvSpPr>
            <a:spLocks noGrp="1"/>
          </p:cNvSpPr>
          <p:nvPr>
            <p:ph type="body" sz="quarter" idx="82"/>
          </p:nvPr>
        </p:nvSpPr>
        <p:spPr>
          <a:xfrm>
            <a:off x="7264874"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105" name="텍스트 개체 틀 9"/>
          <p:cNvSpPr>
            <a:spLocks noGrp="1"/>
          </p:cNvSpPr>
          <p:nvPr>
            <p:ph type="body" sz="quarter" idx="83"/>
          </p:nvPr>
        </p:nvSpPr>
        <p:spPr>
          <a:xfrm>
            <a:off x="7576635"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106" name="텍스트 개체 틀 9"/>
          <p:cNvSpPr>
            <a:spLocks noGrp="1"/>
          </p:cNvSpPr>
          <p:nvPr>
            <p:ph type="body" sz="quarter" idx="84"/>
          </p:nvPr>
        </p:nvSpPr>
        <p:spPr>
          <a:xfrm>
            <a:off x="7888396"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Our Team : type 2">
    <p:spTree>
      <p:nvGrpSpPr>
        <p:cNvPr id="1" name=""/>
        <p:cNvGrpSpPr/>
        <p:nvPr/>
      </p:nvGrpSpPr>
      <p:grpSpPr>
        <a:xfrm>
          <a:off x="0" y="0"/>
          <a:ext cx="0" cy="0"/>
          <a:chOff x="0" y="0"/>
          <a:chExt cx="0" cy="0"/>
        </a:xfrm>
      </p:grpSpPr>
      <p:graphicFrame>
        <p:nvGraphicFramePr>
          <p:cNvPr id="35" name="Object 289"/>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
                  <p:embed/>
                </p:oleObj>
              </mc:Choice>
              <mc:Fallback>
                <p:oleObj name="think-cell Slide" r:id="rId3" imgW="12700" imgH="12700" progId="">
                  <p:embed/>
                  <p:pic>
                    <p:nvPicPr>
                      <p:cNvPr id="0" name="Object 28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Oval 8"/>
          <p:cNvSpPr/>
          <p:nvPr userDrawn="1"/>
        </p:nvSpPr>
        <p:spPr>
          <a:xfrm flipH="1">
            <a:off x="8244254" y="4866085"/>
            <a:ext cx="211015" cy="171450"/>
          </a:xfrm>
          <a:prstGeom prst="ellipse">
            <a:avLst/>
          </a:prstGeom>
          <a:solidFill>
            <a:schemeClr val="tx2">
              <a:alpha val="25000"/>
            </a:schemeClr>
          </a:solidFill>
          <a:ln>
            <a:noFill/>
          </a:ln>
        </p:spPr>
        <p:style>
          <a:lnRef idx="2">
            <a:schemeClr val="dk1"/>
          </a:lnRef>
          <a:fillRef idx="1">
            <a:schemeClr val="lt1"/>
          </a:fillRef>
          <a:effectRef idx="0">
            <a:schemeClr val="dk1"/>
          </a:effectRef>
          <a:fontRef idx="minor">
            <a:schemeClr val="dk1"/>
          </a:fontRef>
        </p:style>
        <p:txBody>
          <a:bodyPr lIns="0" tIns="0" rIns="0" bIns="8100" anchor="ctr"/>
          <a:lstStyle/>
          <a:p>
            <a:pPr algn="ctr" eaLnBrk="1" fontAlgn="auto" latinLnBrk="1" hangingPunct="1">
              <a:spcBef>
                <a:spcPts val="0"/>
              </a:spcBef>
              <a:spcAft>
                <a:spcPts val="0"/>
              </a:spcAft>
              <a:defRPr/>
            </a:pPr>
            <a:endParaRPr lang="en-US" sz="675" dirty="0">
              <a:gradFill flip="none" rotWithShape="1">
                <a:gsLst>
                  <a:gs pos="0">
                    <a:srgbClr val="FFFFFF"/>
                  </a:gs>
                  <a:gs pos="100000">
                    <a:srgbClr val="FFFFFF"/>
                  </a:gs>
                </a:gsLst>
                <a:lin ang="0" scaled="1"/>
                <a:tileRect/>
              </a:gradFill>
              <a:latin typeface="Bebas Neue"/>
            </a:endParaRPr>
          </a:p>
        </p:txBody>
      </p:sp>
      <p:cxnSp>
        <p:nvCxnSpPr>
          <p:cNvPr id="37" name="직선 연결선 25"/>
          <p:cNvCxnSpPr/>
          <p:nvPr/>
        </p:nvCxnSpPr>
        <p:spPr>
          <a:xfrm>
            <a:off x="720969" y="742950"/>
            <a:ext cx="3238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슬라이드 번호 개체 틀 4"/>
          <p:cNvSpPr txBox="1"/>
          <p:nvPr/>
        </p:nvSpPr>
        <p:spPr>
          <a:xfrm>
            <a:off x="8127024" y="4867275"/>
            <a:ext cx="413238" cy="179785"/>
          </a:xfrm>
          <a:prstGeom prst="rect">
            <a:avLst/>
          </a:prstGeom>
        </p:spPr>
        <p:txBody>
          <a:bodyPr tIns="0" bIns="0" anchor="ctr"/>
          <a:lstStyle>
            <a:lvl1pPr eaLnBrk="0" hangingPunct="0">
              <a:defRPr>
                <a:solidFill>
                  <a:schemeClr val="tx1"/>
                </a:solidFill>
                <a:latin typeface="Arial" panose="020B0604020202020204" pitchFamily="34" charset="0"/>
                <a:ea typeface="Roboto Condensed Light"/>
                <a:cs typeface="Roboto Condensed Light"/>
              </a:defRPr>
            </a:lvl1pPr>
            <a:lvl2pPr marL="742950" indent="-285750" eaLnBrk="0" hangingPunct="0">
              <a:defRPr>
                <a:solidFill>
                  <a:schemeClr val="tx1"/>
                </a:solidFill>
                <a:latin typeface="Arial" panose="020B0604020202020204" pitchFamily="34" charset="0"/>
                <a:ea typeface="Roboto Condensed Light"/>
                <a:cs typeface="Roboto Condensed Light"/>
              </a:defRPr>
            </a:lvl2pPr>
            <a:lvl3pPr marL="1143000" indent="-228600" eaLnBrk="0" hangingPunct="0">
              <a:defRPr>
                <a:solidFill>
                  <a:schemeClr val="tx1"/>
                </a:solidFill>
                <a:latin typeface="Arial" panose="020B0604020202020204" pitchFamily="34" charset="0"/>
                <a:ea typeface="Roboto Condensed Light"/>
                <a:cs typeface="Roboto Condensed Light"/>
              </a:defRPr>
            </a:lvl3pPr>
            <a:lvl4pPr marL="1600200" indent="-228600" eaLnBrk="0" hangingPunct="0">
              <a:defRPr>
                <a:solidFill>
                  <a:schemeClr val="tx1"/>
                </a:solidFill>
                <a:latin typeface="Arial" panose="020B0604020202020204" pitchFamily="34" charset="0"/>
                <a:ea typeface="Roboto Condensed Light"/>
                <a:cs typeface="Roboto Condensed Light"/>
              </a:defRPr>
            </a:lvl4pPr>
            <a:lvl5pPr marL="2057400" indent="-228600" eaLnBrk="0" hangingPunct="0">
              <a:defRPr>
                <a:solidFill>
                  <a:schemeClr val="tx1"/>
                </a:solidFill>
                <a:latin typeface="Arial" panose="020B0604020202020204" pitchFamily="34" charset="0"/>
                <a:ea typeface="Roboto Condensed Light"/>
                <a:cs typeface="Roboto Condensed Light"/>
              </a:defRPr>
            </a:lvl5pPr>
            <a:lvl6pPr marL="25146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6pPr>
            <a:lvl7pPr marL="29718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7pPr>
            <a:lvl8pPr marL="34290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8pPr>
            <a:lvl9pPr marL="38862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9pPr>
          </a:lstStyle>
          <a:p>
            <a:pPr algn="ctr" eaLnBrk="1" latinLnBrk="1" hangingPunct="1">
              <a:defRPr/>
            </a:pPr>
            <a:fld id="{90D94A7F-65EE-4FB7-98A7-B57781144E95}" type="slidenum">
              <a:rPr lang="ko-KR" altLang="en-US" sz="675" b="1" smtClean="0">
                <a:solidFill>
                  <a:srgbClr val="FFFFFF"/>
                </a:solidFill>
                <a:latin typeface="Roboto Condensed Regular"/>
              </a:rPr>
            </a:fld>
            <a:endParaRPr lang="ko-KR" altLang="en-US" sz="675" b="1">
              <a:solidFill>
                <a:srgbClr val="FFFFFF"/>
              </a:solidFill>
              <a:latin typeface="Roboto Condensed Regular"/>
            </a:endParaRPr>
          </a:p>
        </p:txBody>
      </p:sp>
      <p:grpSp>
        <p:nvGrpSpPr>
          <p:cNvPr id="39" name="그룹 34"/>
          <p:cNvGrpSpPr/>
          <p:nvPr userDrawn="1"/>
        </p:nvGrpSpPr>
        <p:grpSpPr bwMode="auto">
          <a:xfrm>
            <a:off x="725366" y="988219"/>
            <a:ext cx="1754065" cy="1903810"/>
            <a:chOff x="726061" y="1067373"/>
            <a:chExt cx="1753042" cy="1903286"/>
          </a:xfrm>
        </p:grpSpPr>
        <p:sp>
          <p:nvSpPr>
            <p:cNvPr id="40" name="이등변 삼각형 35"/>
            <p:cNvSpPr/>
            <p:nvPr/>
          </p:nvSpPr>
          <p:spPr>
            <a:xfrm rot="10800000">
              <a:off x="1433429" y="2786163"/>
              <a:ext cx="338307" cy="184496"/>
            </a:xfrm>
            <a:prstGeom prst="triangl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41" name="타원 36"/>
            <p:cNvSpPr/>
            <p:nvPr/>
          </p:nvSpPr>
          <p:spPr>
            <a:xfrm>
              <a:off x="726061" y="1067373"/>
              <a:ext cx="1753042" cy="1753309"/>
            </a:xfrm>
            <a:prstGeom prst="ellipse">
              <a:avLst/>
            </a:prstGeom>
            <a:pattFill prst="ltUpDiag">
              <a:fgClr>
                <a:schemeClr val="accent6">
                  <a:lumMod val="65000"/>
                </a:schemeClr>
              </a:fgClr>
              <a:bgClr>
                <a:schemeClr val="bg2"/>
              </a:bgClr>
            </a:patt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42" name="이등변 삼각형 37"/>
            <p:cNvSpPr/>
            <p:nvPr/>
          </p:nvSpPr>
          <p:spPr>
            <a:xfrm rot="10800000">
              <a:off x="1433429" y="2804017"/>
              <a:ext cx="338307" cy="119030"/>
            </a:xfrm>
            <a:prstGeom prst="triangle">
              <a:avLst/>
            </a:prstGeom>
            <a:solidFill>
              <a:schemeClr val="bg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43" name="이등변 삼각형 38"/>
            <p:cNvSpPr/>
            <p:nvPr/>
          </p:nvSpPr>
          <p:spPr>
            <a:xfrm rot="10800000">
              <a:off x="1433429" y="2793304"/>
              <a:ext cx="338307" cy="102366"/>
            </a:xfrm>
            <a:prstGeom prst="triangle">
              <a:avLst/>
            </a:prstGeom>
            <a:pattFill prst="ltUpDiag">
              <a:fgClr>
                <a:schemeClr val="accent6">
                  <a:lumMod val="65000"/>
                </a:schemeClr>
              </a:fgClr>
              <a:bgClr>
                <a:schemeClr val="bg2"/>
              </a:bgClr>
            </a:patt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grpSp>
      <p:grpSp>
        <p:nvGrpSpPr>
          <p:cNvPr id="44" name="그룹 39"/>
          <p:cNvGrpSpPr/>
          <p:nvPr userDrawn="1"/>
        </p:nvGrpSpPr>
        <p:grpSpPr bwMode="auto">
          <a:xfrm>
            <a:off x="2708031" y="988219"/>
            <a:ext cx="1752600" cy="1903810"/>
            <a:chOff x="726061" y="1067373"/>
            <a:chExt cx="1753042" cy="1903286"/>
          </a:xfrm>
        </p:grpSpPr>
        <p:sp>
          <p:nvSpPr>
            <p:cNvPr id="45" name="이등변 삼각형 40"/>
            <p:cNvSpPr/>
            <p:nvPr/>
          </p:nvSpPr>
          <p:spPr>
            <a:xfrm rot="10800000">
              <a:off x="1434021" y="2786163"/>
              <a:ext cx="337123" cy="184496"/>
            </a:xfrm>
            <a:prstGeom prst="triangl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46" name="타원 41"/>
            <p:cNvSpPr/>
            <p:nvPr/>
          </p:nvSpPr>
          <p:spPr>
            <a:xfrm>
              <a:off x="726061" y="1067373"/>
              <a:ext cx="1753042" cy="1753309"/>
            </a:xfrm>
            <a:prstGeom prst="ellipse">
              <a:avLst/>
            </a:prstGeom>
            <a:pattFill prst="ltUpDiag">
              <a:fgClr>
                <a:schemeClr val="accent6">
                  <a:lumMod val="65000"/>
                </a:schemeClr>
              </a:fgClr>
              <a:bgClr>
                <a:schemeClr val="bg2"/>
              </a:bgClr>
            </a:patt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47" name="이등변 삼각형 42"/>
            <p:cNvSpPr/>
            <p:nvPr/>
          </p:nvSpPr>
          <p:spPr>
            <a:xfrm rot="10800000">
              <a:off x="1434021" y="2804017"/>
              <a:ext cx="337123" cy="119030"/>
            </a:xfrm>
            <a:prstGeom prst="triangle">
              <a:avLst/>
            </a:prstGeom>
            <a:solidFill>
              <a:schemeClr val="bg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48" name="이등변 삼각형 43"/>
            <p:cNvSpPr/>
            <p:nvPr/>
          </p:nvSpPr>
          <p:spPr>
            <a:xfrm rot="10800000">
              <a:off x="1434021" y="2793304"/>
              <a:ext cx="337123" cy="102366"/>
            </a:xfrm>
            <a:prstGeom prst="triangle">
              <a:avLst/>
            </a:prstGeom>
            <a:pattFill prst="ltUpDiag">
              <a:fgClr>
                <a:schemeClr val="accent6">
                  <a:lumMod val="65000"/>
                </a:schemeClr>
              </a:fgClr>
              <a:bgClr>
                <a:schemeClr val="bg2"/>
              </a:bgClr>
            </a:patt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grpSp>
      <p:grpSp>
        <p:nvGrpSpPr>
          <p:cNvPr id="49" name="그룹 44"/>
          <p:cNvGrpSpPr/>
          <p:nvPr userDrawn="1"/>
        </p:nvGrpSpPr>
        <p:grpSpPr bwMode="auto">
          <a:xfrm>
            <a:off x="4689231" y="988219"/>
            <a:ext cx="1752600" cy="1903810"/>
            <a:chOff x="726061" y="1067373"/>
            <a:chExt cx="1753042" cy="1903286"/>
          </a:xfrm>
        </p:grpSpPr>
        <p:sp>
          <p:nvSpPr>
            <p:cNvPr id="50" name="이등변 삼각형 45"/>
            <p:cNvSpPr/>
            <p:nvPr/>
          </p:nvSpPr>
          <p:spPr>
            <a:xfrm rot="10800000">
              <a:off x="1434021" y="2786163"/>
              <a:ext cx="337123" cy="184496"/>
            </a:xfrm>
            <a:prstGeom prst="triangl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51" name="타원 46"/>
            <p:cNvSpPr/>
            <p:nvPr/>
          </p:nvSpPr>
          <p:spPr>
            <a:xfrm>
              <a:off x="726061" y="1067373"/>
              <a:ext cx="1753042" cy="1753309"/>
            </a:xfrm>
            <a:prstGeom prst="ellipse">
              <a:avLst/>
            </a:prstGeom>
            <a:pattFill prst="ltUpDiag">
              <a:fgClr>
                <a:schemeClr val="accent6">
                  <a:lumMod val="65000"/>
                </a:schemeClr>
              </a:fgClr>
              <a:bgClr>
                <a:schemeClr val="bg2"/>
              </a:bgClr>
            </a:patt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52" name="이등변 삼각형 47"/>
            <p:cNvSpPr/>
            <p:nvPr/>
          </p:nvSpPr>
          <p:spPr>
            <a:xfrm rot="10800000">
              <a:off x="1434021" y="2804017"/>
              <a:ext cx="337123" cy="119030"/>
            </a:xfrm>
            <a:prstGeom prst="triangle">
              <a:avLst/>
            </a:prstGeom>
            <a:solidFill>
              <a:schemeClr val="bg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53" name="이등변 삼각형 48"/>
            <p:cNvSpPr/>
            <p:nvPr/>
          </p:nvSpPr>
          <p:spPr>
            <a:xfrm rot="10800000">
              <a:off x="1434021" y="2793304"/>
              <a:ext cx="337123" cy="102366"/>
            </a:xfrm>
            <a:prstGeom prst="triangle">
              <a:avLst/>
            </a:prstGeom>
            <a:pattFill prst="ltUpDiag">
              <a:fgClr>
                <a:schemeClr val="accent6">
                  <a:lumMod val="65000"/>
                </a:schemeClr>
              </a:fgClr>
              <a:bgClr>
                <a:schemeClr val="bg2"/>
              </a:bgClr>
            </a:patt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grpSp>
      <p:grpSp>
        <p:nvGrpSpPr>
          <p:cNvPr id="54" name="그룹 49"/>
          <p:cNvGrpSpPr/>
          <p:nvPr userDrawn="1"/>
        </p:nvGrpSpPr>
        <p:grpSpPr bwMode="auto">
          <a:xfrm>
            <a:off x="6670431" y="988219"/>
            <a:ext cx="1752600" cy="1903810"/>
            <a:chOff x="726061" y="1067373"/>
            <a:chExt cx="1753042" cy="1903286"/>
          </a:xfrm>
        </p:grpSpPr>
        <p:sp>
          <p:nvSpPr>
            <p:cNvPr id="55" name="이등변 삼각형 50"/>
            <p:cNvSpPr/>
            <p:nvPr/>
          </p:nvSpPr>
          <p:spPr>
            <a:xfrm rot="10800000">
              <a:off x="1434021" y="2786163"/>
              <a:ext cx="337123" cy="184496"/>
            </a:xfrm>
            <a:prstGeom prst="triangl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56" name="타원 51"/>
            <p:cNvSpPr/>
            <p:nvPr/>
          </p:nvSpPr>
          <p:spPr>
            <a:xfrm>
              <a:off x="726061" y="1067373"/>
              <a:ext cx="1753042" cy="1753309"/>
            </a:xfrm>
            <a:prstGeom prst="ellipse">
              <a:avLst/>
            </a:prstGeom>
            <a:pattFill prst="ltUpDiag">
              <a:fgClr>
                <a:schemeClr val="accent6">
                  <a:lumMod val="65000"/>
                </a:schemeClr>
              </a:fgClr>
              <a:bgClr>
                <a:schemeClr val="bg2"/>
              </a:bgClr>
            </a:patt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57" name="이등변 삼각형 52"/>
            <p:cNvSpPr/>
            <p:nvPr/>
          </p:nvSpPr>
          <p:spPr>
            <a:xfrm rot="10800000">
              <a:off x="1434021" y="2804017"/>
              <a:ext cx="337123" cy="119030"/>
            </a:xfrm>
            <a:prstGeom prst="triangle">
              <a:avLst/>
            </a:prstGeom>
            <a:solidFill>
              <a:schemeClr val="bg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58" name="이등변 삼각형 53"/>
            <p:cNvSpPr/>
            <p:nvPr/>
          </p:nvSpPr>
          <p:spPr>
            <a:xfrm rot="10800000">
              <a:off x="1434021" y="2793304"/>
              <a:ext cx="337123" cy="102366"/>
            </a:xfrm>
            <a:prstGeom prst="triangle">
              <a:avLst/>
            </a:prstGeom>
            <a:pattFill prst="ltUpDiag">
              <a:fgClr>
                <a:schemeClr val="accent6">
                  <a:lumMod val="65000"/>
                </a:schemeClr>
              </a:fgClr>
              <a:bgClr>
                <a:schemeClr val="bg2"/>
              </a:bgClr>
            </a:patt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grpSp>
      <p:cxnSp>
        <p:nvCxnSpPr>
          <p:cNvPr id="59" name="직선 연결선 54"/>
          <p:cNvCxnSpPr/>
          <p:nvPr userDrawn="1"/>
        </p:nvCxnSpPr>
        <p:spPr>
          <a:xfrm>
            <a:off x="1462454" y="3533775"/>
            <a:ext cx="28135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 name="직선 연결선 55"/>
          <p:cNvCxnSpPr/>
          <p:nvPr userDrawn="1"/>
        </p:nvCxnSpPr>
        <p:spPr>
          <a:xfrm>
            <a:off x="3443654" y="3533775"/>
            <a:ext cx="28135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 name="직선 연결선 56"/>
          <p:cNvCxnSpPr/>
          <p:nvPr userDrawn="1"/>
        </p:nvCxnSpPr>
        <p:spPr>
          <a:xfrm>
            <a:off x="5424854" y="3533775"/>
            <a:ext cx="28135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직선 연결선 57"/>
          <p:cNvCxnSpPr/>
          <p:nvPr userDrawn="1"/>
        </p:nvCxnSpPr>
        <p:spPr>
          <a:xfrm>
            <a:off x="7406054" y="3533775"/>
            <a:ext cx="28135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그림 개체 틀 8"/>
          <p:cNvSpPr>
            <a:spLocks noGrp="1"/>
          </p:cNvSpPr>
          <p:nvPr>
            <p:ph type="pic" sz="quarter" idx="10"/>
          </p:nvPr>
        </p:nvSpPr>
        <p:spPr>
          <a:xfrm>
            <a:off x="792582" y="1055312"/>
            <a:ext cx="1620000" cy="1620000"/>
          </a:xfrm>
          <a:prstGeom prst="ellipse">
            <a:avLst/>
          </a:prstGeom>
          <a:solidFill>
            <a:schemeClr val="bg2">
              <a:lumMod val="95000"/>
            </a:schemeClr>
          </a:solidFill>
          <a:ln w="12700" cap="flat" cmpd="sng" algn="ctr">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
        <p:nvSpPr>
          <p:cNvPr id="12" name="그림 개체 틀 8"/>
          <p:cNvSpPr>
            <a:spLocks noGrp="1"/>
          </p:cNvSpPr>
          <p:nvPr>
            <p:ph type="pic" sz="quarter" idx="12"/>
          </p:nvPr>
        </p:nvSpPr>
        <p:spPr>
          <a:xfrm>
            <a:off x="4755364" y="1055312"/>
            <a:ext cx="1620000" cy="1620000"/>
          </a:xfrm>
          <a:prstGeom prst="ellipse">
            <a:avLst/>
          </a:prstGeom>
          <a:solidFill>
            <a:schemeClr val="bg2">
              <a:lumMod val="95000"/>
            </a:schemeClr>
          </a:solidFill>
          <a:ln w="12700" cap="flat" cmpd="sng" algn="ctr">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3" name="그림 개체 틀 8"/>
          <p:cNvSpPr>
            <a:spLocks noGrp="1"/>
          </p:cNvSpPr>
          <p:nvPr>
            <p:ph type="pic" sz="quarter" idx="13"/>
          </p:nvPr>
        </p:nvSpPr>
        <p:spPr>
          <a:xfrm>
            <a:off x="6736754" y="1055312"/>
            <a:ext cx="1620000" cy="1620000"/>
          </a:xfrm>
          <a:prstGeom prst="ellipse">
            <a:avLst/>
          </a:prstGeom>
          <a:solidFill>
            <a:schemeClr val="bg2">
              <a:lumMod val="95000"/>
            </a:schemeClr>
          </a:solidFill>
          <a:ln w="12700" cap="flat" cmpd="sng" algn="ctr">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0" name="그림 개체 틀 8"/>
          <p:cNvSpPr>
            <a:spLocks noGrp="1"/>
          </p:cNvSpPr>
          <p:nvPr>
            <p:ph type="pic" sz="quarter" idx="11"/>
          </p:nvPr>
        </p:nvSpPr>
        <p:spPr>
          <a:xfrm>
            <a:off x="2773973" y="1055312"/>
            <a:ext cx="1620000" cy="1620000"/>
          </a:xfrm>
          <a:prstGeom prst="ellipse">
            <a:avLst/>
          </a:prstGeom>
          <a:solidFill>
            <a:schemeClr val="bg2">
              <a:lumMod val="95000"/>
            </a:schemeClr>
          </a:solidFill>
          <a:ln w="12700" cap="flat" cmpd="sng" algn="ctr">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51" name="텍스트 개체 틀 32"/>
          <p:cNvSpPr>
            <a:spLocks noGrp="1"/>
          </p:cNvSpPr>
          <p:nvPr>
            <p:ph type="body" sz="quarter" idx="15"/>
          </p:nvPr>
        </p:nvSpPr>
        <p:spPr>
          <a:xfrm>
            <a:off x="720726" y="3248974"/>
            <a:ext cx="1763712" cy="209207"/>
          </a:xfrm>
          <a:prstGeom prst="rect">
            <a:avLst/>
          </a:prstGeom>
        </p:spPr>
        <p:txBody>
          <a:bodyPr lIns="0" tIns="0" rIns="0" bIns="0"/>
          <a:lstStyle>
            <a:lvl1pPr marL="0" indent="0" algn="ctr">
              <a:buFont typeface="Arial" panose="020B0604020202020204" pitchFamily="34" charset="0"/>
              <a:buNone/>
              <a:defRPr lang="ko-KR" altLang="en-US" sz="750"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3" name="텍스트 개체 틀 30"/>
          <p:cNvSpPr>
            <a:spLocks noGrp="1"/>
          </p:cNvSpPr>
          <p:nvPr>
            <p:ph type="body" sz="quarter" idx="14"/>
          </p:nvPr>
        </p:nvSpPr>
        <p:spPr>
          <a:xfrm>
            <a:off x="720726" y="2991594"/>
            <a:ext cx="1763712" cy="257380"/>
          </a:xfrm>
          <a:prstGeom prst="rect">
            <a:avLst/>
          </a:prstGeom>
        </p:spPr>
        <p:txBody>
          <a:bodyPr lIns="0" tIns="0" rIns="0" bIns="0"/>
          <a:lstStyle>
            <a:lvl1pPr marL="0" indent="0" algn="ctr">
              <a:buFont typeface="Arial" panose="020B0604020202020204" pitchFamily="34" charset="0"/>
              <a:buNone/>
              <a:defRPr lang="ko-KR" altLang="en-US" sz="1125"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54" name="텍스트 개체 틀 34"/>
          <p:cNvSpPr>
            <a:spLocks noGrp="1"/>
          </p:cNvSpPr>
          <p:nvPr>
            <p:ph type="body" sz="quarter" idx="16"/>
          </p:nvPr>
        </p:nvSpPr>
        <p:spPr>
          <a:xfrm>
            <a:off x="720726" y="3653254"/>
            <a:ext cx="1763712" cy="667519"/>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55" name="텍스트 개체 틀 32"/>
          <p:cNvSpPr>
            <a:spLocks noGrp="1"/>
          </p:cNvSpPr>
          <p:nvPr>
            <p:ph type="body" sz="quarter" idx="24"/>
          </p:nvPr>
        </p:nvSpPr>
        <p:spPr>
          <a:xfrm>
            <a:off x="4683508" y="3248974"/>
            <a:ext cx="1763712" cy="209207"/>
          </a:xfrm>
          <a:prstGeom prst="rect">
            <a:avLst/>
          </a:prstGeom>
        </p:spPr>
        <p:txBody>
          <a:bodyPr lIns="0" tIns="0" rIns="0" bIns="0"/>
          <a:lstStyle>
            <a:lvl1pPr marL="0" indent="0" algn="ctr">
              <a:buNone/>
              <a:defRPr lang="ko-KR" altLang="en-US" sz="750"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6" name="텍스트 개체 틀 30"/>
          <p:cNvSpPr>
            <a:spLocks noGrp="1"/>
          </p:cNvSpPr>
          <p:nvPr>
            <p:ph type="body" sz="quarter" idx="25"/>
          </p:nvPr>
        </p:nvSpPr>
        <p:spPr>
          <a:xfrm>
            <a:off x="4683508" y="2991594"/>
            <a:ext cx="1763712" cy="257380"/>
          </a:xfrm>
          <a:prstGeom prst="rect">
            <a:avLst/>
          </a:prstGeom>
        </p:spPr>
        <p:txBody>
          <a:bodyPr lIns="0" tIns="0" rIns="0" bIns="0"/>
          <a:lstStyle>
            <a:lvl1pPr marL="0" indent="0" algn="ctr">
              <a:buNone/>
              <a:defRPr lang="ko-KR" altLang="en-US" sz="1125"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57" name="텍스트 개체 틀 34"/>
          <p:cNvSpPr>
            <a:spLocks noGrp="1"/>
          </p:cNvSpPr>
          <p:nvPr>
            <p:ph type="body" sz="quarter" idx="26"/>
          </p:nvPr>
        </p:nvSpPr>
        <p:spPr>
          <a:xfrm>
            <a:off x="4683508" y="3653254"/>
            <a:ext cx="1763712" cy="667519"/>
          </a:xfrm>
          <a:prstGeom prst="rect">
            <a:avLst/>
          </a:prstGeom>
        </p:spPr>
        <p:txBody>
          <a:bodyPr lIns="0" tIns="0" rIns="0" bIns="0"/>
          <a:lstStyle>
            <a:lvl1pPr marL="0" indent="0" algn="ctr">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58" name="텍스트 개체 틀 32"/>
          <p:cNvSpPr>
            <a:spLocks noGrp="1"/>
          </p:cNvSpPr>
          <p:nvPr>
            <p:ph type="body" sz="quarter" idx="27"/>
          </p:nvPr>
        </p:nvSpPr>
        <p:spPr>
          <a:xfrm>
            <a:off x="6664898" y="3248974"/>
            <a:ext cx="1763712" cy="209207"/>
          </a:xfrm>
          <a:prstGeom prst="rect">
            <a:avLst/>
          </a:prstGeom>
        </p:spPr>
        <p:txBody>
          <a:bodyPr lIns="0" tIns="0" rIns="0" bIns="0"/>
          <a:lstStyle>
            <a:lvl1pPr marL="0" indent="0" algn="ctr">
              <a:buNone/>
              <a:defRPr lang="ko-KR" altLang="en-US" sz="750"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9" name="텍스트 개체 틀 30"/>
          <p:cNvSpPr>
            <a:spLocks noGrp="1"/>
          </p:cNvSpPr>
          <p:nvPr>
            <p:ph type="body" sz="quarter" idx="28"/>
          </p:nvPr>
        </p:nvSpPr>
        <p:spPr>
          <a:xfrm>
            <a:off x="6664898" y="2991594"/>
            <a:ext cx="1763712" cy="257380"/>
          </a:xfrm>
          <a:prstGeom prst="rect">
            <a:avLst/>
          </a:prstGeom>
        </p:spPr>
        <p:txBody>
          <a:bodyPr lIns="0" tIns="0" rIns="0" bIns="0"/>
          <a:lstStyle>
            <a:lvl1pPr marL="0" indent="0" algn="ctr">
              <a:buNone/>
              <a:defRPr lang="ko-KR" altLang="en-US" sz="1125"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60" name="텍스트 개체 틀 34"/>
          <p:cNvSpPr>
            <a:spLocks noGrp="1"/>
          </p:cNvSpPr>
          <p:nvPr>
            <p:ph type="body" sz="quarter" idx="29"/>
          </p:nvPr>
        </p:nvSpPr>
        <p:spPr>
          <a:xfrm>
            <a:off x="6664898" y="3653254"/>
            <a:ext cx="1763712" cy="667519"/>
          </a:xfrm>
          <a:prstGeom prst="rect">
            <a:avLst/>
          </a:prstGeom>
        </p:spPr>
        <p:txBody>
          <a:bodyPr lIns="0" tIns="0" rIns="0" bIns="0"/>
          <a:lstStyle>
            <a:lvl1pPr marL="0" indent="0" algn="ctr">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76" name="텍스트 개체 틀 133"/>
          <p:cNvSpPr>
            <a:spLocks noGrp="1"/>
          </p:cNvSpPr>
          <p:nvPr>
            <p:ph type="body" sz="quarter" idx="42"/>
          </p:nvPr>
        </p:nvSpPr>
        <p:spPr>
          <a:xfrm>
            <a:off x="2702117" y="2991594"/>
            <a:ext cx="1763712" cy="257380"/>
          </a:xfrm>
          <a:prstGeom prst="rect">
            <a:avLst/>
          </a:prstGeom>
        </p:spPr>
        <p:txBody>
          <a:bodyPr lIns="0" tIns="0" rIns="0" bIns="0"/>
          <a:lstStyle>
            <a:lvl1pPr marL="0" indent="0" algn="ctr">
              <a:buFont typeface="Arial" panose="020B0604020202020204" pitchFamily="34" charset="0"/>
              <a:buNone/>
              <a:defRPr lang="ko-KR" altLang="en-US" sz="1125" b="1" kern="1200" dirty="0" smtClean="0">
                <a:gradFill>
                  <a:gsLst>
                    <a:gs pos="0">
                      <a:schemeClr val="tx2"/>
                    </a:gs>
                    <a:gs pos="100000">
                      <a:schemeClr val="tx2"/>
                    </a:gs>
                  </a:gsLst>
                  <a:lin ang="5400000" scaled="0"/>
                </a:gradFill>
                <a:latin typeface="Roboto Condensed Regular"/>
                <a:ea typeface="Roboto Light" pitchFamily="2" charset="0"/>
                <a:cs typeface="Roboto Condensed Regular"/>
              </a:defRPr>
            </a:lvl1pPr>
            <a:lvl2pPr>
              <a:defRPr lang="ko-KR" altLang="en-US" sz="1125" b="1" kern="1200" dirty="0" smtClean="0">
                <a:gradFill>
                  <a:gsLst>
                    <a:gs pos="0">
                      <a:schemeClr val="tx2"/>
                    </a:gs>
                    <a:gs pos="100000">
                      <a:schemeClr val="tx2"/>
                    </a:gs>
                  </a:gsLst>
                  <a:lin ang="5400000" scaled="0"/>
                </a:gradFill>
                <a:latin typeface="Roboto Condensed Regular"/>
                <a:ea typeface="Roboto Light" pitchFamily="2" charset="0"/>
                <a:cs typeface="Roboto Condensed Regular"/>
              </a:defRPr>
            </a:lvl2pPr>
            <a:lvl3pPr>
              <a:defRPr lang="ko-KR" altLang="en-US" sz="1125" b="1" kern="1200" dirty="0" smtClean="0">
                <a:gradFill>
                  <a:gsLst>
                    <a:gs pos="0">
                      <a:schemeClr val="tx2"/>
                    </a:gs>
                    <a:gs pos="100000">
                      <a:schemeClr val="tx2"/>
                    </a:gs>
                  </a:gsLst>
                  <a:lin ang="5400000" scaled="0"/>
                </a:gradFill>
                <a:latin typeface="Roboto Condensed Regular"/>
                <a:ea typeface="Roboto Light" pitchFamily="2" charset="0"/>
                <a:cs typeface="Roboto Condensed Regular"/>
              </a:defRPr>
            </a:lvl3pPr>
            <a:lvl4pPr>
              <a:defRPr lang="ko-KR" altLang="en-US" sz="1125" b="1" kern="1200" dirty="0" smtClean="0">
                <a:gradFill>
                  <a:gsLst>
                    <a:gs pos="0">
                      <a:schemeClr val="tx2"/>
                    </a:gs>
                    <a:gs pos="100000">
                      <a:schemeClr val="tx2"/>
                    </a:gs>
                  </a:gsLst>
                  <a:lin ang="5400000" scaled="0"/>
                </a:gradFill>
                <a:latin typeface="Roboto Condensed Regular"/>
                <a:ea typeface="Roboto Light" pitchFamily="2" charset="0"/>
                <a:cs typeface="Roboto Condensed Regular"/>
              </a:defRPr>
            </a:lvl4pPr>
            <a:lvl5pPr>
              <a:defRPr lang="ko-KR" altLang="en-US" sz="1125"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5pPr>
          </a:lstStyle>
          <a:p>
            <a:pPr lvl="0"/>
            <a:r>
              <a:rPr lang="en-US" altLang="ko-KR"/>
              <a:t>Click to edit Master text styles</a:t>
            </a:r>
            <a:endParaRPr lang="en-US" altLang="ko-KR"/>
          </a:p>
        </p:txBody>
      </p:sp>
      <p:sp>
        <p:nvSpPr>
          <p:cNvPr id="177" name="텍스트 개체 틀 135"/>
          <p:cNvSpPr>
            <a:spLocks noGrp="1"/>
          </p:cNvSpPr>
          <p:nvPr>
            <p:ph type="body" sz="quarter" idx="43"/>
          </p:nvPr>
        </p:nvSpPr>
        <p:spPr>
          <a:xfrm>
            <a:off x="2702117" y="3248974"/>
            <a:ext cx="1763712" cy="209207"/>
          </a:xfrm>
          <a:prstGeom prst="rect">
            <a:avLst/>
          </a:prstGeom>
        </p:spPr>
        <p:txBody>
          <a:bodyPr lIns="0" tIns="0" rIns="0" bIns="0"/>
          <a:lstStyle>
            <a:lvl1pPr marL="0" indent="0" algn="ctr">
              <a:buFont typeface="Arial" panose="020B0604020202020204" pitchFamily="34" charset="0"/>
              <a:buNone/>
              <a:defRPr lang="ko-KR" altLang="en-US" sz="750"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stStyle>
          <a:p>
            <a:pPr lvl="0"/>
            <a:r>
              <a:rPr lang="en-US" altLang="ko-KR"/>
              <a:t>Click to edit Master text styles</a:t>
            </a:r>
            <a:endParaRPr lang="en-US" altLang="ko-KR"/>
          </a:p>
        </p:txBody>
      </p:sp>
      <p:sp>
        <p:nvSpPr>
          <p:cNvPr id="178" name="텍스트 개체 틀 137"/>
          <p:cNvSpPr>
            <a:spLocks noGrp="1"/>
          </p:cNvSpPr>
          <p:nvPr>
            <p:ph type="body" sz="quarter" idx="44"/>
          </p:nvPr>
        </p:nvSpPr>
        <p:spPr>
          <a:xfrm>
            <a:off x="2702117" y="3653254"/>
            <a:ext cx="1763712" cy="667519"/>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stStyle>
          <a:p>
            <a:pPr lvl="0"/>
            <a:r>
              <a:rPr lang="en-US" altLang="ko-KR"/>
              <a:t>Click to edit Master text styles</a:t>
            </a:r>
            <a:endParaRPr lang="en-US" altLang="ko-KR"/>
          </a:p>
        </p:txBody>
      </p:sp>
      <p:sp>
        <p:nvSpPr>
          <p:cNvPr id="85" name="텍스트 개체 틀 9"/>
          <p:cNvSpPr>
            <a:spLocks noGrp="1"/>
          </p:cNvSpPr>
          <p:nvPr>
            <p:ph type="body" sz="quarter" idx="69"/>
          </p:nvPr>
        </p:nvSpPr>
        <p:spPr>
          <a:xfrm>
            <a:off x="1008941"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86" name="텍스트 개체 틀 9"/>
          <p:cNvSpPr>
            <a:spLocks noGrp="1"/>
          </p:cNvSpPr>
          <p:nvPr>
            <p:ph type="body" sz="quarter" idx="70"/>
          </p:nvPr>
        </p:nvSpPr>
        <p:spPr>
          <a:xfrm>
            <a:off x="1320702"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87" name="텍스트 개체 틀 9"/>
          <p:cNvSpPr>
            <a:spLocks noGrp="1"/>
          </p:cNvSpPr>
          <p:nvPr>
            <p:ph type="body" sz="quarter" idx="71"/>
          </p:nvPr>
        </p:nvSpPr>
        <p:spPr>
          <a:xfrm>
            <a:off x="1632463"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88" name="텍스트 개체 틀 9"/>
          <p:cNvSpPr>
            <a:spLocks noGrp="1"/>
          </p:cNvSpPr>
          <p:nvPr>
            <p:ph type="body" sz="quarter" idx="72"/>
          </p:nvPr>
        </p:nvSpPr>
        <p:spPr>
          <a:xfrm>
            <a:off x="1944224"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3" name="텍스트 개체 틀 9"/>
          <p:cNvSpPr>
            <a:spLocks noGrp="1"/>
          </p:cNvSpPr>
          <p:nvPr>
            <p:ph type="body" sz="quarter" idx="73"/>
          </p:nvPr>
        </p:nvSpPr>
        <p:spPr>
          <a:xfrm>
            <a:off x="2990332"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5" name="텍스트 개체 틀 9"/>
          <p:cNvSpPr>
            <a:spLocks noGrp="1"/>
          </p:cNvSpPr>
          <p:nvPr>
            <p:ph type="body" sz="quarter" idx="74"/>
          </p:nvPr>
        </p:nvSpPr>
        <p:spPr>
          <a:xfrm>
            <a:off x="3302093"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6" name="텍스트 개체 틀 9"/>
          <p:cNvSpPr>
            <a:spLocks noGrp="1"/>
          </p:cNvSpPr>
          <p:nvPr>
            <p:ph type="body" sz="quarter" idx="75"/>
          </p:nvPr>
        </p:nvSpPr>
        <p:spPr>
          <a:xfrm>
            <a:off x="3613854"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7" name="텍스트 개체 틀 9"/>
          <p:cNvSpPr>
            <a:spLocks noGrp="1"/>
          </p:cNvSpPr>
          <p:nvPr>
            <p:ph type="body" sz="quarter" idx="76"/>
          </p:nvPr>
        </p:nvSpPr>
        <p:spPr>
          <a:xfrm>
            <a:off x="3925615"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8" name="텍스트 개체 틀 9"/>
          <p:cNvSpPr>
            <a:spLocks noGrp="1"/>
          </p:cNvSpPr>
          <p:nvPr>
            <p:ph type="body" sz="quarter" idx="77"/>
          </p:nvPr>
        </p:nvSpPr>
        <p:spPr>
          <a:xfrm>
            <a:off x="4971723"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9" name="텍스트 개체 틀 9"/>
          <p:cNvSpPr>
            <a:spLocks noGrp="1"/>
          </p:cNvSpPr>
          <p:nvPr>
            <p:ph type="body" sz="quarter" idx="78"/>
          </p:nvPr>
        </p:nvSpPr>
        <p:spPr>
          <a:xfrm>
            <a:off x="5283484"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100" name="텍스트 개체 틀 9"/>
          <p:cNvSpPr>
            <a:spLocks noGrp="1"/>
          </p:cNvSpPr>
          <p:nvPr>
            <p:ph type="body" sz="quarter" idx="79"/>
          </p:nvPr>
        </p:nvSpPr>
        <p:spPr>
          <a:xfrm>
            <a:off x="5595245"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101" name="텍스트 개체 틀 9"/>
          <p:cNvSpPr>
            <a:spLocks noGrp="1"/>
          </p:cNvSpPr>
          <p:nvPr>
            <p:ph type="body" sz="quarter" idx="80"/>
          </p:nvPr>
        </p:nvSpPr>
        <p:spPr>
          <a:xfrm>
            <a:off x="5907006"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102" name="텍스트 개체 틀 9"/>
          <p:cNvSpPr>
            <a:spLocks noGrp="1"/>
          </p:cNvSpPr>
          <p:nvPr>
            <p:ph type="body" sz="quarter" idx="81"/>
          </p:nvPr>
        </p:nvSpPr>
        <p:spPr>
          <a:xfrm>
            <a:off x="6953113"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103" name="텍스트 개체 틀 9"/>
          <p:cNvSpPr>
            <a:spLocks noGrp="1"/>
          </p:cNvSpPr>
          <p:nvPr>
            <p:ph type="body" sz="quarter" idx="82"/>
          </p:nvPr>
        </p:nvSpPr>
        <p:spPr>
          <a:xfrm>
            <a:off x="7264874"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104" name="텍스트 개체 틀 9"/>
          <p:cNvSpPr>
            <a:spLocks noGrp="1"/>
          </p:cNvSpPr>
          <p:nvPr>
            <p:ph type="body" sz="quarter" idx="83"/>
          </p:nvPr>
        </p:nvSpPr>
        <p:spPr>
          <a:xfrm>
            <a:off x="7576635"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109" name="텍스트 개체 틀 9"/>
          <p:cNvSpPr>
            <a:spLocks noGrp="1"/>
          </p:cNvSpPr>
          <p:nvPr>
            <p:ph type="body" sz="quarter" idx="84"/>
          </p:nvPr>
        </p:nvSpPr>
        <p:spPr>
          <a:xfrm>
            <a:off x="7888396" y="4303135"/>
            <a:ext cx="252000" cy="252000"/>
          </a:xfrm>
          <a:prstGeom prst="rect">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p:cTn id="7" dur="500" fill="hold"/>
                                        <p:tgtEl>
                                          <p:spTgt spid="39"/>
                                        </p:tgtEl>
                                        <p:attrNameLst>
                                          <p:attrName>ppt_w</p:attrName>
                                        </p:attrNameLst>
                                      </p:cBhvr>
                                      <p:tavLst>
                                        <p:tav tm="0">
                                          <p:val>
                                            <p:fltVal val="0"/>
                                          </p:val>
                                        </p:tav>
                                        <p:tav tm="100000">
                                          <p:val>
                                            <p:strVal val="#ppt_w"/>
                                          </p:val>
                                        </p:tav>
                                      </p:tavLst>
                                    </p:anim>
                                    <p:anim calcmode="lin" valueType="num">
                                      <p:cBhvr>
                                        <p:cTn id="8" dur="500" fill="hold"/>
                                        <p:tgtEl>
                                          <p:spTgt spid="39"/>
                                        </p:tgtEl>
                                        <p:attrNameLst>
                                          <p:attrName>ppt_h</p:attrName>
                                        </p:attrNameLst>
                                      </p:cBhvr>
                                      <p:tavLst>
                                        <p:tav tm="0">
                                          <p:val>
                                            <p:strVal val="#ppt_h"/>
                                          </p:val>
                                        </p:tav>
                                        <p:tav tm="100000">
                                          <p:val>
                                            <p:strVal val="#ppt_h"/>
                                          </p:val>
                                        </p:tav>
                                      </p:tavLst>
                                    </p:anim>
                                  </p:childTnLst>
                                </p:cTn>
                              </p:par>
                              <p:par>
                                <p:cTn id="9" presetID="17" presetClass="entr" presetSubtype="10" fill="hold" nodeType="withEffect">
                                  <p:stCondLst>
                                    <p:cond delay="0"/>
                                  </p:stCondLst>
                                  <p:childTnLst>
                                    <p:set>
                                      <p:cBhvr>
                                        <p:cTn id="10" dur="1" fill="hold">
                                          <p:stCondLst>
                                            <p:cond delay="0"/>
                                          </p:stCondLst>
                                        </p:cTn>
                                        <p:tgtEl>
                                          <p:spTgt spid="44"/>
                                        </p:tgtEl>
                                        <p:attrNameLst>
                                          <p:attrName>style.visibility</p:attrName>
                                        </p:attrNameLst>
                                      </p:cBhvr>
                                      <p:to>
                                        <p:strVal val="visible"/>
                                      </p:to>
                                    </p:set>
                                    <p:anim calcmode="lin" valueType="num">
                                      <p:cBhvr>
                                        <p:cTn id="11" dur="500" fill="hold"/>
                                        <p:tgtEl>
                                          <p:spTgt spid="44"/>
                                        </p:tgtEl>
                                        <p:attrNameLst>
                                          <p:attrName>ppt_w</p:attrName>
                                        </p:attrNameLst>
                                      </p:cBhvr>
                                      <p:tavLst>
                                        <p:tav tm="0">
                                          <p:val>
                                            <p:fltVal val="0"/>
                                          </p:val>
                                        </p:tav>
                                        <p:tav tm="100000">
                                          <p:val>
                                            <p:strVal val="#ppt_w"/>
                                          </p:val>
                                        </p:tav>
                                      </p:tavLst>
                                    </p:anim>
                                    <p:anim calcmode="lin" valueType="num">
                                      <p:cBhvr>
                                        <p:cTn id="12" dur="500" fill="hold"/>
                                        <p:tgtEl>
                                          <p:spTgt spid="44"/>
                                        </p:tgtEl>
                                        <p:attrNameLst>
                                          <p:attrName>ppt_h</p:attrName>
                                        </p:attrNameLst>
                                      </p:cBhvr>
                                      <p:tavLst>
                                        <p:tav tm="0">
                                          <p:val>
                                            <p:strVal val="#ppt_h"/>
                                          </p:val>
                                        </p:tav>
                                        <p:tav tm="100000">
                                          <p:val>
                                            <p:strVal val="#ppt_h"/>
                                          </p:val>
                                        </p:tav>
                                      </p:tavLst>
                                    </p:anim>
                                  </p:childTnLst>
                                </p:cTn>
                              </p:par>
                              <p:par>
                                <p:cTn id="13" presetID="17" presetClass="entr" presetSubtype="10" fill="hold" nodeType="withEffect">
                                  <p:stCondLst>
                                    <p:cond delay="0"/>
                                  </p:stCondLst>
                                  <p:childTnLst>
                                    <p:set>
                                      <p:cBhvr>
                                        <p:cTn id="14" dur="1" fill="hold">
                                          <p:stCondLst>
                                            <p:cond delay="0"/>
                                          </p:stCondLst>
                                        </p:cTn>
                                        <p:tgtEl>
                                          <p:spTgt spid="49"/>
                                        </p:tgtEl>
                                        <p:attrNameLst>
                                          <p:attrName>style.visibility</p:attrName>
                                        </p:attrNameLst>
                                      </p:cBhvr>
                                      <p:to>
                                        <p:strVal val="visible"/>
                                      </p:to>
                                    </p:set>
                                    <p:anim calcmode="lin" valueType="num">
                                      <p:cBhvr>
                                        <p:cTn id="15" dur="500" fill="hold"/>
                                        <p:tgtEl>
                                          <p:spTgt spid="49"/>
                                        </p:tgtEl>
                                        <p:attrNameLst>
                                          <p:attrName>ppt_w</p:attrName>
                                        </p:attrNameLst>
                                      </p:cBhvr>
                                      <p:tavLst>
                                        <p:tav tm="0">
                                          <p:val>
                                            <p:fltVal val="0"/>
                                          </p:val>
                                        </p:tav>
                                        <p:tav tm="100000">
                                          <p:val>
                                            <p:strVal val="#ppt_w"/>
                                          </p:val>
                                        </p:tav>
                                      </p:tavLst>
                                    </p:anim>
                                    <p:anim calcmode="lin" valueType="num">
                                      <p:cBhvr>
                                        <p:cTn id="16" dur="500" fill="hold"/>
                                        <p:tgtEl>
                                          <p:spTgt spid="49"/>
                                        </p:tgtEl>
                                        <p:attrNameLst>
                                          <p:attrName>ppt_h</p:attrName>
                                        </p:attrNameLst>
                                      </p:cBhvr>
                                      <p:tavLst>
                                        <p:tav tm="0">
                                          <p:val>
                                            <p:strVal val="#ppt_h"/>
                                          </p:val>
                                        </p:tav>
                                        <p:tav tm="100000">
                                          <p:val>
                                            <p:strVal val="#ppt_h"/>
                                          </p:val>
                                        </p:tav>
                                      </p:tavLst>
                                    </p:anim>
                                  </p:childTnLst>
                                </p:cTn>
                              </p:par>
                              <p:par>
                                <p:cTn id="17" presetID="17" presetClass="entr" presetSubtype="10" fill="hold" nodeType="withEffect">
                                  <p:stCondLst>
                                    <p:cond delay="0"/>
                                  </p:stCondLst>
                                  <p:childTnLst>
                                    <p:set>
                                      <p:cBhvr>
                                        <p:cTn id="18" dur="1" fill="hold">
                                          <p:stCondLst>
                                            <p:cond delay="0"/>
                                          </p:stCondLst>
                                        </p:cTn>
                                        <p:tgtEl>
                                          <p:spTgt spid="54"/>
                                        </p:tgtEl>
                                        <p:attrNameLst>
                                          <p:attrName>style.visibility</p:attrName>
                                        </p:attrNameLst>
                                      </p:cBhvr>
                                      <p:to>
                                        <p:strVal val="visible"/>
                                      </p:to>
                                    </p:set>
                                    <p:anim calcmode="lin" valueType="num">
                                      <p:cBhvr>
                                        <p:cTn id="19" dur="500" fill="hold"/>
                                        <p:tgtEl>
                                          <p:spTgt spid="54"/>
                                        </p:tgtEl>
                                        <p:attrNameLst>
                                          <p:attrName>ppt_w</p:attrName>
                                        </p:attrNameLst>
                                      </p:cBhvr>
                                      <p:tavLst>
                                        <p:tav tm="0">
                                          <p:val>
                                            <p:fltVal val="0"/>
                                          </p:val>
                                        </p:tav>
                                        <p:tav tm="100000">
                                          <p:val>
                                            <p:strVal val="#ppt_w"/>
                                          </p:val>
                                        </p:tav>
                                      </p:tavLst>
                                    </p:anim>
                                    <p:anim calcmode="lin" valueType="num">
                                      <p:cBhvr>
                                        <p:cTn id="20" dur="500" fill="hold"/>
                                        <p:tgtEl>
                                          <p:spTgt spid="54"/>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Our Team : type 3">
    <p:spTree>
      <p:nvGrpSpPr>
        <p:cNvPr id="1" name=""/>
        <p:cNvGrpSpPr/>
        <p:nvPr/>
      </p:nvGrpSpPr>
      <p:grpSpPr>
        <a:xfrm>
          <a:off x="0" y="0"/>
          <a:ext cx="0" cy="0"/>
          <a:chOff x="0" y="0"/>
          <a:chExt cx="0" cy="0"/>
        </a:xfrm>
      </p:grpSpPr>
      <p:graphicFrame>
        <p:nvGraphicFramePr>
          <p:cNvPr id="38" name="Object 289"/>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
                  <p:embed/>
                </p:oleObj>
              </mc:Choice>
              <mc:Fallback>
                <p:oleObj name="think-cell Slide" r:id="rId3" imgW="12700" imgH="12700" progId="">
                  <p:embed/>
                  <p:pic>
                    <p:nvPicPr>
                      <p:cNvPr id="0" name="Object 28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 name="Oval 8"/>
          <p:cNvSpPr/>
          <p:nvPr userDrawn="1"/>
        </p:nvSpPr>
        <p:spPr>
          <a:xfrm flipH="1">
            <a:off x="8244254" y="4866085"/>
            <a:ext cx="211015" cy="171450"/>
          </a:xfrm>
          <a:prstGeom prst="ellipse">
            <a:avLst/>
          </a:prstGeom>
          <a:solidFill>
            <a:schemeClr val="tx2">
              <a:alpha val="25000"/>
            </a:schemeClr>
          </a:solidFill>
          <a:ln>
            <a:noFill/>
          </a:ln>
        </p:spPr>
        <p:style>
          <a:lnRef idx="2">
            <a:schemeClr val="dk1"/>
          </a:lnRef>
          <a:fillRef idx="1">
            <a:schemeClr val="lt1"/>
          </a:fillRef>
          <a:effectRef idx="0">
            <a:schemeClr val="dk1"/>
          </a:effectRef>
          <a:fontRef idx="minor">
            <a:schemeClr val="dk1"/>
          </a:fontRef>
        </p:style>
        <p:txBody>
          <a:bodyPr lIns="0" tIns="0" rIns="0" bIns="8100" anchor="ctr"/>
          <a:lstStyle/>
          <a:p>
            <a:pPr algn="ctr" eaLnBrk="1" fontAlgn="auto" latinLnBrk="1" hangingPunct="1">
              <a:spcBef>
                <a:spcPts val="0"/>
              </a:spcBef>
              <a:spcAft>
                <a:spcPts val="0"/>
              </a:spcAft>
              <a:defRPr/>
            </a:pPr>
            <a:endParaRPr lang="en-US" sz="675" dirty="0">
              <a:gradFill flip="none" rotWithShape="1">
                <a:gsLst>
                  <a:gs pos="0">
                    <a:srgbClr val="FFFFFF"/>
                  </a:gs>
                  <a:gs pos="100000">
                    <a:srgbClr val="FFFFFF"/>
                  </a:gs>
                </a:gsLst>
                <a:lin ang="0" scaled="1"/>
                <a:tileRect/>
              </a:gradFill>
              <a:latin typeface="Bebas Neue"/>
            </a:endParaRPr>
          </a:p>
        </p:txBody>
      </p:sp>
      <p:cxnSp>
        <p:nvCxnSpPr>
          <p:cNvPr id="40" name="직선 연결선 25"/>
          <p:cNvCxnSpPr/>
          <p:nvPr/>
        </p:nvCxnSpPr>
        <p:spPr>
          <a:xfrm>
            <a:off x="720969" y="742950"/>
            <a:ext cx="3238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슬라이드 번호 개체 틀 4"/>
          <p:cNvSpPr txBox="1"/>
          <p:nvPr/>
        </p:nvSpPr>
        <p:spPr>
          <a:xfrm>
            <a:off x="8127024" y="4867275"/>
            <a:ext cx="413238" cy="179785"/>
          </a:xfrm>
          <a:prstGeom prst="rect">
            <a:avLst/>
          </a:prstGeom>
        </p:spPr>
        <p:txBody>
          <a:bodyPr tIns="0" bIns="0" anchor="ctr"/>
          <a:lstStyle>
            <a:lvl1pPr eaLnBrk="0" hangingPunct="0">
              <a:defRPr>
                <a:solidFill>
                  <a:schemeClr val="tx1"/>
                </a:solidFill>
                <a:latin typeface="Arial" panose="020B0604020202020204" pitchFamily="34" charset="0"/>
                <a:ea typeface="Roboto Condensed Light"/>
                <a:cs typeface="Roboto Condensed Light"/>
              </a:defRPr>
            </a:lvl1pPr>
            <a:lvl2pPr marL="742950" indent="-285750" eaLnBrk="0" hangingPunct="0">
              <a:defRPr>
                <a:solidFill>
                  <a:schemeClr val="tx1"/>
                </a:solidFill>
                <a:latin typeface="Arial" panose="020B0604020202020204" pitchFamily="34" charset="0"/>
                <a:ea typeface="Roboto Condensed Light"/>
                <a:cs typeface="Roboto Condensed Light"/>
              </a:defRPr>
            </a:lvl2pPr>
            <a:lvl3pPr marL="1143000" indent="-228600" eaLnBrk="0" hangingPunct="0">
              <a:defRPr>
                <a:solidFill>
                  <a:schemeClr val="tx1"/>
                </a:solidFill>
                <a:latin typeface="Arial" panose="020B0604020202020204" pitchFamily="34" charset="0"/>
                <a:ea typeface="Roboto Condensed Light"/>
                <a:cs typeface="Roboto Condensed Light"/>
              </a:defRPr>
            </a:lvl3pPr>
            <a:lvl4pPr marL="1600200" indent="-228600" eaLnBrk="0" hangingPunct="0">
              <a:defRPr>
                <a:solidFill>
                  <a:schemeClr val="tx1"/>
                </a:solidFill>
                <a:latin typeface="Arial" panose="020B0604020202020204" pitchFamily="34" charset="0"/>
                <a:ea typeface="Roboto Condensed Light"/>
                <a:cs typeface="Roboto Condensed Light"/>
              </a:defRPr>
            </a:lvl4pPr>
            <a:lvl5pPr marL="2057400" indent="-228600" eaLnBrk="0" hangingPunct="0">
              <a:defRPr>
                <a:solidFill>
                  <a:schemeClr val="tx1"/>
                </a:solidFill>
                <a:latin typeface="Arial" panose="020B0604020202020204" pitchFamily="34" charset="0"/>
                <a:ea typeface="Roboto Condensed Light"/>
                <a:cs typeface="Roboto Condensed Light"/>
              </a:defRPr>
            </a:lvl5pPr>
            <a:lvl6pPr marL="25146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6pPr>
            <a:lvl7pPr marL="29718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7pPr>
            <a:lvl8pPr marL="34290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8pPr>
            <a:lvl9pPr marL="38862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9pPr>
          </a:lstStyle>
          <a:p>
            <a:pPr algn="ctr" eaLnBrk="1" latinLnBrk="1" hangingPunct="1">
              <a:defRPr/>
            </a:pPr>
            <a:fld id="{E294003C-D220-4AB2-B965-9D60D11A4B12}" type="slidenum">
              <a:rPr lang="ko-KR" altLang="en-US" sz="675" b="1" smtClean="0">
                <a:solidFill>
                  <a:srgbClr val="FFFFFF"/>
                </a:solidFill>
                <a:latin typeface="Roboto Condensed Regular"/>
              </a:rPr>
            </a:fld>
            <a:endParaRPr lang="ko-KR" altLang="en-US" sz="675" b="1">
              <a:solidFill>
                <a:srgbClr val="FFFFFF"/>
              </a:solidFill>
              <a:latin typeface="Roboto Condensed Regular"/>
            </a:endParaRPr>
          </a:p>
        </p:txBody>
      </p:sp>
      <p:cxnSp>
        <p:nvCxnSpPr>
          <p:cNvPr id="42" name="직선 연결선 37"/>
          <p:cNvCxnSpPr/>
          <p:nvPr userDrawn="1"/>
        </p:nvCxnSpPr>
        <p:spPr>
          <a:xfrm>
            <a:off x="820615" y="3638550"/>
            <a:ext cx="16412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직선 연결선 38"/>
          <p:cNvCxnSpPr/>
          <p:nvPr userDrawn="1"/>
        </p:nvCxnSpPr>
        <p:spPr>
          <a:xfrm>
            <a:off x="2746131" y="3638550"/>
            <a:ext cx="16412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직선 연결선 39"/>
          <p:cNvCxnSpPr/>
          <p:nvPr userDrawn="1"/>
        </p:nvCxnSpPr>
        <p:spPr>
          <a:xfrm>
            <a:off x="4671646" y="3638550"/>
            <a:ext cx="16412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직선 연결선 40"/>
          <p:cNvCxnSpPr/>
          <p:nvPr userDrawn="1"/>
        </p:nvCxnSpPr>
        <p:spPr>
          <a:xfrm>
            <a:off x="6597162" y="3638550"/>
            <a:ext cx="16412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그림 개체 틀 7"/>
          <p:cNvSpPr>
            <a:spLocks noGrp="1"/>
          </p:cNvSpPr>
          <p:nvPr>
            <p:ph type="pic" sz="quarter" idx="10"/>
          </p:nvPr>
        </p:nvSpPr>
        <p:spPr>
          <a:xfrm>
            <a:off x="720726" y="1037754"/>
            <a:ext cx="1925638" cy="2041200"/>
          </a:xfrm>
          <a:prstGeom prst="rect">
            <a:avLst/>
          </a:prstGeom>
          <a:solidFill>
            <a:schemeClr val="bg2">
              <a:lumMod val="9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
        <p:nvSpPr>
          <p:cNvPr id="5" name="그림 개체 틀 7"/>
          <p:cNvSpPr>
            <a:spLocks noGrp="1"/>
          </p:cNvSpPr>
          <p:nvPr>
            <p:ph type="pic" sz="quarter" idx="11"/>
          </p:nvPr>
        </p:nvSpPr>
        <p:spPr>
          <a:xfrm>
            <a:off x="2646363" y="1037754"/>
            <a:ext cx="1925638" cy="2041200"/>
          </a:xfrm>
          <a:prstGeom prst="rect">
            <a:avLst/>
          </a:prstGeom>
          <a:solidFill>
            <a:schemeClr val="bg2">
              <a:lumMod val="9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6" name="그림 개체 틀 7"/>
          <p:cNvSpPr>
            <a:spLocks noGrp="1"/>
          </p:cNvSpPr>
          <p:nvPr>
            <p:ph type="pic" sz="quarter" idx="12"/>
          </p:nvPr>
        </p:nvSpPr>
        <p:spPr>
          <a:xfrm>
            <a:off x="4572000" y="1037754"/>
            <a:ext cx="1925638" cy="2041200"/>
          </a:xfrm>
          <a:prstGeom prst="rect">
            <a:avLst/>
          </a:prstGeom>
          <a:solidFill>
            <a:schemeClr val="bg2">
              <a:lumMod val="9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7" name="그림 개체 틀 7"/>
          <p:cNvSpPr>
            <a:spLocks noGrp="1"/>
          </p:cNvSpPr>
          <p:nvPr>
            <p:ph type="pic" sz="quarter" idx="13"/>
          </p:nvPr>
        </p:nvSpPr>
        <p:spPr>
          <a:xfrm>
            <a:off x="6497638" y="1037754"/>
            <a:ext cx="1925638" cy="2041200"/>
          </a:xfrm>
          <a:prstGeom prst="rect">
            <a:avLst/>
          </a:prstGeom>
          <a:solidFill>
            <a:schemeClr val="bg2">
              <a:lumMod val="9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0" name="텍스트 개체 틀 32"/>
          <p:cNvSpPr>
            <a:spLocks noGrp="1"/>
          </p:cNvSpPr>
          <p:nvPr>
            <p:ph type="body" sz="quarter" idx="15"/>
          </p:nvPr>
        </p:nvSpPr>
        <p:spPr>
          <a:xfrm>
            <a:off x="820740" y="3404424"/>
            <a:ext cx="1825625" cy="209207"/>
          </a:xfrm>
          <a:prstGeom prst="rect">
            <a:avLst/>
          </a:prstGeom>
        </p:spPr>
        <p:txBody>
          <a:bodyPr lIns="0" tIns="0" rIns="0" bIns="0"/>
          <a:lstStyle>
            <a:lvl1pPr marL="0" indent="0" algn="l">
              <a:buFont typeface="Arial" panose="020B0604020202020204" pitchFamily="34" charset="0"/>
              <a:buNone/>
              <a:defRPr lang="ko-KR" altLang="en-US" sz="600"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2" name="텍스트 개체 틀 30"/>
          <p:cNvSpPr>
            <a:spLocks noGrp="1"/>
          </p:cNvSpPr>
          <p:nvPr>
            <p:ph type="body" sz="quarter" idx="14"/>
          </p:nvPr>
        </p:nvSpPr>
        <p:spPr>
          <a:xfrm>
            <a:off x="820740" y="3174727"/>
            <a:ext cx="1825625" cy="209207"/>
          </a:xfrm>
          <a:prstGeom prst="rect">
            <a:avLst/>
          </a:prstGeom>
        </p:spPr>
        <p:txBody>
          <a:bodyPr lIns="0" tIns="0" rIns="0" bIns="0"/>
          <a:lstStyle>
            <a:lvl1pPr marL="0" indent="0" algn="l">
              <a:buFont typeface="Arial" panose="020B0604020202020204" pitchFamily="34" charset="0"/>
              <a:buNone/>
              <a:defRPr lang="ko-KR" altLang="en-US" sz="90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3" name="텍스트 개체 틀 34"/>
          <p:cNvSpPr>
            <a:spLocks noGrp="1"/>
          </p:cNvSpPr>
          <p:nvPr>
            <p:ph type="body" sz="quarter" idx="16"/>
          </p:nvPr>
        </p:nvSpPr>
        <p:spPr>
          <a:xfrm>
            <a:off x="820740" y="3733737"/>
            <a:ext cx="1825625" cy="631091"/>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4" name="텍스트 개체 틀 32"/>
          <p:cNvSpPr>
            <a:spLocks noGrp="1"/>
          </p:cNvSpPr>
          <p:nvPr>
            <p:ph type="body" sz="quarter" idx="24"/>
          </p:nvPr>
        </p:nvSpPr>
        <p:spPr>
          <a:xfrm>
            <a:off x="4672014" y="3404424"/>
            <a:ext cx="1825625" cy="209207"/>
          </a:xfrm>
          <a:prstGeom prst="rect">
            <a:avLst/>
          </a:prstGeom>
        </p:spPr>
        <p:txBody>
          <a:bodyPr lIns="0" tIns="0" rIns="0" bIns="0"/>
          <a:lstStyle>
            <a:lvl1pPr marL="0" indent="0" algn="l">
              <a:buNone/>
              <a:defRPr lang="ko-KR" altLang="en-US" sz="600"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 name="텍스트 개체 틀 30"/>
          <p:cNvSpPr>
            <a:spLocks noGrp="1"/>
          </p:cNvSpPr>
          <p:nvPr>
            <p:ph type="body" sz="quarter" idx="25"/>
          </p:nvPr>
        </p:nvSpPr>
        <p:spPr>
          <a:xfrm>
            <a:off x="4672014" y="3174727"/>
            <a:ext cx="1825625" cy="209207"/>
          </a:xfrm>
          <a:prstGeom prst="rect">
            <a:avLst/>
          </a:prstGeom>
        </p:spPr>
        <p:txBody>
          <a:bodyPr lIns="0" tIns="0" rIns="0" bIns="0"/>
          <a:lstStyle>
            <a:lvl1pPr marL="0" indent="0" algn="l">
              <a:buNone/>
              <a:defRPr lang="ko-KR" altLang="en-US" sz="90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6" name="텍스트 개체 틀 34"/>
          <p:cNvSpPr>
            <a:spLocks noGrp="1"/>
          </p:cNvSpPr>
          <p:nvPr>
            <p:ph type="body" sz="quarter" idx="26"/>
          </p:nvPr>
        </p:nvSpPr>
        <p:spPr>
          <a:xfrm>
            <a:off x="4672014" y="3733737"/>
            <a:ext cx="1825625" cy="631091"/>
          </a:xfrm>
          <a:prstGeom prst="rect">
            <a:avLst/>
          </a:prstGeom>
        </p:spPr>
        <p:txBody>
          <a:bodyPr lIns="0" tIns="0" rIns="0" bIns="0"/>
          <a:lstStyle>
            <a:lvl1pPr marL="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7" name="텍스트 개체 틀 32"/>
          <p:cNvSpPr>
            <a:spLocks noGrp="1"/>
          </p:cNvSpPr>
          <p:nvPr>
            <p:ph type="body" sz="quarter" idx="27"/>
          </p:nvPr>
        </p:nvSpPr>
        <p:spPr>
          <a:xfrm>
            <a:off x="6597652" y="3404424"/>
            <a:ext cx="1825625" cy="209207"/>
          </a:xfrm>
          <a:prstGeom prst="rect">
            <a:avLst/>
          </a:prstGeom>
        </p:spPr>
        <p:txBody>
          <a:bodyPr lIns="0" tIns="0" rIns="0" bIns="0"/>
          <a:lstStyle>
            <a:lvl1pPr marL="0" indent="0" algn="l">
              <a:buNone/>
              <a:defRPr lang="ko-KR" altLang="en-US" sz="600"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8" name="텍스트 개체 틀 30"/>
          <p:cNvSpPr>
            <a:spLocks noGrp="1"/>
          </p:cNvSpPr>
          <p:nvPr>
            <p:ph type="body" sz="quarter" idx="28"/>
          </p:nvPr>
        </p:nvSpPr>
        <p:spPr>
          <a:xfrm>
            <a:off x="6597652" y="3174727"/>
            <a:ext cx="1825625" cy="209207"/>
          </a:xfrm>
          <a:prstGeom prst="rect">
            <a:avLst/>
          </a:prstGeom>
        </p:spPr>
        <p:txBody>
          <a:bodyPr lIns="0" tIns="0" rIns="0" bIns="0"/>
          <a:lstStyle>
            <a:lvl1pPr marL="0" indent="0" algn="l">
              <a:buNone/>
              <a:defRPr lang="ko-KR" altLang="en-US" sz="90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9" name="텍스트 개체 틀 34"/>
          <p:cNvSpPr>
            <a:spLocks noGrp="1"/>
          </p:cNvSpPr>
          <p:nvPr>
            <p:ph type="body" sz="quarter" idx="29"/>
          </p:nvPr>
        </p:nvSpPr>
        <p:spPr>
          <a:xfrm>
            <a:off x="6597652" y="3733737"/>
            <a:ext cx="1825625" cy="631091"/>
          </a:xfrm>
          <a:prstGeom prst="rect">
            <a:avLst/>
          </a:prstGeom>
        </p:spPr>
        <p:txBody>
          <a:bodyPr lIns="0" tIns="0" rIns="0" bIns="0"/>
          <a:lstStyle>
            <a:lvl1pPr marL="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35" name="텍스트 개체 틀 133"/>
          <p:cNvSpPr>
            <a:spLocks noGrp="1"/>
          </p:cNvSpPr>
          <p:nvPr>
            <p:ph type="body" sz="quarter" idx="42"/>
          </p:nvPr>
        </p:nvSpPr>
        <p:spPr>
          <a:xfrm>
            <a:off x="2746376" y="3174727"/>
            <a:ext cx="1825625" cy="209207"/>
          </a:xfrm>
          <a:prstGeom prst="rect">
            <a:avLst/>
          </a:prstGeom>
        </p:spPr>
        <p:txBody>
          <a:bodyPr lIns="0" tIns="0" rIns="0" bIns="0"/>
          <a:lstStyle>
            <a:lvl1pPr marL="0" indent="0" algn="l">
              <a:buFont typeface="Arial" panose="020B0604020202020204" pitchFamily="34" charset="0"/>
              <a:buNone/>
              <a:defRPr lang="ko-KR" altLang="en-US" sz="90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a:defRPr lang="ko-KR" altLang="en-US" sz="1125" b="1" kern="1200" dirty="0" smtClean="0">
                <a:gradFill>
                  <a:gsLst>
                    <a:gs pos="0">
                      <a:schemeClr val="tx2"/>
                    </a:gs>
                    <a:gs pos="100000">
                      <a:schemeClr val="tx2"/>
                    </a:gs>
                  </a:gsLst>
                  <a:lin ang="5400000" scaled="0"/>
                </a:gradFill>
                <a:latin typeface="Roboto Condensed Regular"/>
                <a:ea typeface="Roboto Light" pitchFamily="2" charset="0"/>
                <a:cs typeface="Roboto Condensed Regular"/>
              </a:defRPr>
            </a:lvl2pPr>
            <a:lvl3pPr>
              <a:defRPr lang="ko-KR" altLang="en-US" sz="1125" b="1" kern="1200" dirty="0" smtClean="0">
                <a:gradFill>
                  <a:gsLst>
                    <a:gs pos="0">
                      <a:schemeClr val="tx2"/>
                    </a:gs>
                    <a:gs pos="100000">
                      <a:schemeClr val="tx2"/>
                    </a:gs>
                  </a:gsLst>
                  <a:lin ang="5400000" scaled="0"/>
                </a:gradFill>
                <a:latin typeface="Roboto Condensed Regular"/>
                <a:ea typeface="Roboto Light" pitchFamily="2" charset="0"/>
                <a:cs typeface="Roboto Condensed Regular"/>
              </a:defRPr>
            </a:lvl3pPr>
            <a:lvl4pPr>
              <a:defRPr lang="ko-KR" altLang="en-US" sz="1125" b="1" kern="1200" dirty="0" smtClean="0">
                <a:gradFill>
                  <a:gsLst>
                    <a:gs pos="0">
                      <a:schemeClr val="tx2"/>
                    </a:gs>
                    <a:gs pos="100000">
                      <a:schemeClr val="tx2"/>
                    </a:gs>
                  </a:gsLst>
                  <a:lin ang="5400000" scaled="0"/>
                </a:gradFill>
                <a:latin typeface="Roboto Condensed Regular"/>
                <a:ea typeface="Roboto Light" pitchFamily="2" charset="0"/>
                <a:cs typeface="Roboto Condensed Regular"/>
              </a:defRPr>
            </a:lvl4pPr>
            <a:lvl5pPr>
              <a:defRPr lang="ko-KR" altLang="en-US" sz="1125"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5pPr>
          </a:lstStyle>
          <a:p>
            <a:pPr lvl="0"/>
            <a:r>
              <a:rPr lang="en-US" altLang="ko-KR"/>
              <a:t>Click to edit Master text styles</a:t>
            </a:r>
            <a:endParaRPr lang="en-US" altLang="ko-KR"/>
          </a:p>
        </p:txBody>
      </p:sp>
      <p:sp>
        <p:nvSpPr>
          <p:cNvPr id="36" name="텍스트 개체 틀 135"/>
          <p:cNvSpPr>
            <a:spLocks noGrp="1"/>
          </p:cNvSpPr>
          <p:nvPr>
            <p:ph type="body" sz="quarter" idx="43"/>
          </p:nvPr>
        </p:nvSpPr>
        <p:spPr>
          <a:xfrm>
            <a:off x="2746376" y="3404424"/>
            <a:ext cx="1825625" cy="209207"/>
          </a:xfrm>
          <a:prstGeom prst="rect">
            <a:avLst/>
          </a:prstGeom>
        </p:spPr>
        <p:txBody>
          <a:bodyPr lIns="0" tIns="0" rIns="0" bIns="0"/>
          <a:lstStyle>
            <a:lvl1pPr marL="0" indent="0" algn="l">
              <a:buFont typeface="Arial" panose="020B0604020202020204" pitchFamily="34" charset="0"/>
              <a:buNone/>
              <a:defRPr lang="ko-KR" altLang="en-US" sz="600"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stStyle>
          <a:p>
            <a:pPr lvl="0"/>
            <a:r>
              <a:rPr lang="en-US" altLang="ko-KR"/>
              <a:t>Click to edit Master text styles</a:t>
            </a:r>
            <a:endParaRPr lang="en-US" altLang="ko-KR"/>
          </a:p>
        </p:txBody>
      </p:sp>
      <p:sp>
        <p:nvSpPr>
          <p:cNvPr id="37" name="텍스트 개체 틀 137"/>
          <p:cNvSpPr>
            <a:spLocks noGrp="1"/>
          </p:cNvSpPr>
          <p:nvPr>
            <p:ph type="body" sz="quarter" idx="44"/>
          </p:nvPr>
        </p:nvSpPr>
        <p:spPr>
          <a:xfrm>
            <a:off x="2746376" y="3733737"/>
            <a:ext cx="1825625" cy="631091"/>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stStyle>
          <a:p>
            <a:pPr lvl="0"/>
            <a:r>
              <a:rPr lang="en-US" altLang="ko-KR"/>
              <a:t>Click to edit Master text styles</a:t>
            </a:r>
            <a:endParaRPr lang="en-US" altLang="ko-KR"/>
          </a:p>
        </p:txBody>
      </p:sp>
      <p:sp>
        <p:nvSpPr>
          <p:cNvPr id="58" name="텍스트 개체 틀 9"/>
          <p:cNvSpPr>
            <a:spLocks noGrp="1"/>
          </p:cNvSpPr>
          <p:nvPr>
            <p:ph type="body" sz="quarter" idx="69"/>
          </p:nvPr>
        </p:nvSpPr>
        <p:spPr>
          <a:xfrm>
            <a:off x="820738" y="4364827"/>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60" name="텍스트 개체 틀 9"/>
          <p:cNvSpPr>
            <a:spLocks noGrp="1"/>
          </p:cNvSpPr>
          <p:nvPr>
            <p:ph type="body" sz="quarter" idx="70"/>
          </p:nvPr>
        </p:nvSpPr>
        <p:spPr>
          <a:xfrm>
            <a:off x="1132499" y="4364827"/>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61" name="텍스트 개체 틀 9"/>
          <p:cNvSpPr>
            <a:spLocks noGrp="1"/>
          </p:cNvSpPr>
          <p:nvPr>
            <p:ph type="body" sz="quarter" idx="71"/>
          </p:nvPr>
        </p:nvSpPr>
        <p:spPr>
          <a:xfrm>
            <a:off x="1444260" y="4364827"/>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62" name="텍스트 개체 틀 9"/>
          <p:cNvSpPr>
            <a:spLocks noGrp="1"/>
          </p:cNvSpPr>
          <p:nvPr>
            <p:ph type="body" sz="quarter" idx="72"/>
          </p:nvPr>
        </p:nvSpPr>
        <p:spPr>
          <a:xfrm>
            <a:off x="1756021" y="4364827"/>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63" name="텍스트 개체 틀 9"/>
          <p:cNvSpPr>
            <a:spLocks noGrp="1"/>
          </p:cNvSpPr>
          <p:nvPr>
            <p:ph type="body" sz="quarter" idx="73"/>
          </p:nvPr>
        </p:nvSpPr>
        <p:spPr>
          <a:xfrm>
            <a:off x="2746375" y="4364827"/>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65" name="텍스트 개체 틀 9"/>
          <p:cNvSpPr>
            <a:spLocks noGrp="1"/>
          </p:cNvSpPr>
          <p:nvPr>
            <p:ph type="body" sz="quarter" idx="74"/>
          </p:nvPr>
        </p:nvSpPr>
        <p:spPr>
          <a:xfrm>
            <a:off x="3058136" y="4364827"/>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66" name="텍스트 개체 틀 9"/>
          <p:cNvSpPr>
            <a:spLocks noGrp="1"/>
          </p:cNvSpPr>
          <p:nvPr>
            <p:ph type="body" sz="quarter" idx="75"/>
          </p:nvPr>
        </p:nvSpPr>
        <p:spPr>
          <a:xfrm>
            <a:off x="3369897" y="4364827"/>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67" name="텍스트 개체 틀 9"/>
          <p:cNvSpPr>
            <a:spLocks noGrp="1"/>
          </p:cNvSpPr>
          <p:nvPr>
            <p:ph type="body" sz="quarter" idx="76"/>
          </p:nvPr>
        </p:nvSpPr>
        <p:spPr>
          <a:xfrm>
            <a:off x="3681658" y="4364827"/>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68" name="텍스트 개체 틀 9"/>
          <p:cNvSpPr>
            <a:spLocks noGrp="1"/>
          </p:cNvSpPr>
          <p:nvPr>
            <p:ph type="body" sz="quarter" idx="77"/>
          </p:nvPr>
        </p:nvSpPr>
        <p:spPr>
          <a:xfrm>
            <a:off x="4668852" y="4364827"/>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69" name="텍스트 개체 틀 9"/>
          <p:cNvSpPr>
            <a:spLocks noGrp="1"/>
          </p:cNvSpPr>
          <p:nvPr>
            <p:ph type="body" sz="quarter" idx="78"/>
          </p:nvPr>
        </p:nvSpPr>
        <p:spPr>
          <a:xfrm>
            <a:off x="4980613" y="4364827"/>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70" name="텍스트 개체 틀 9"/>
          <p:cNvSpPr>
            <a:spLocks noGrp="1"/>
          </p:cNvSpPr>
          <p:nvPr>
            <p:ph type="body" sz="quarter" idx="79"/>
          </p:nvPr>
        </p:nvSpPr>
        <p:spPr>
          <a:xfrm>
            <a:off x="5292374" y="4364827"/>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71" name="텍스트 개체 틀 9"/>
          <p:cNvSpPr>
            <a:spLocks noGrp="1"/>
          </p:cNvSpPr>
          <p:nvPr>
            <p:ph type="body" sz="quarter" idx="80"/>
          </p:nvPr>
        </p:nvSpPr>
        <p:spPr>
          <a:xfrm>
            <a:off x="5604135" y="4364827"/>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72" name="텍스트 개체 틀 9"/>
          <p:cNvSpPr>
            <a:spLocks noGrp="1"/>
          </p:cNvSpPr>
          <p:nvPr>
            <p:ph type="body" sz="quarter" idx="81"/>
          </p:nvPr>
        </p:nvSpPr>
        <p:spPr>
          <a:xfrm>
            <a:off x="6597651" y="4364827"/>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73" name="텍스트 개체 틀 9"/>
          <p:cNvSpPr>
            <a:spLocks noGrp="1"/>
          </p:cNvSpPr>
          <p:nvPr>
            <p:ph type="body" sz="quarter" idx="82"/>
          </p:nvPr>
        </p:nvSpPr>
        <p:spPr>
          <a:xfrm>
            <a:off x="6909412" y="4364827"/>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74" name="텍스트 개체 틀 9"/>
          <p:cNvSpPr>
            <a:spLocks noGrp="1"/>
          </p:cNvSpPr>
          <p:nvPr>
            <p:ph type="body" sz="quarter" idx="83"/>
          </p:nvPr>
        </p:nvSpPr>
        <p:spPr>
          <a:xfrm>
            <a:off x="7221173" y="4364827"/>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75" name="텍스트 개체 틀 9"/>
          <p:cNvSpPr>
            <a:spLocks noGrp="1"/>
          </p:cNvSpPr>
          <p:nvPr>
            <p:ph type="body" sz="quarter" idx="84"/>
          </p:nvPr>
        </p:nvSpPr>
        <p:spPr>
          <a:xfrm>
            <a:off x="7532934" y="4364827"/>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 Layout with Tex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endParaRPr lang="en-US" dirty="0"/>
          </a:p>
        </p:txBody>
      </p:sp>
      <p:sp>
        <p:nvSpPr>
          <p:cNvPr id="5" name="텍스트 개체 틀 4"/>
          <p:cNvSpPr>
            <a:spLocks noGrp="1"/>
          </p:cNvSpPr>
          <p:nvPr>
            <p:ph type="body" sz="quarter" idx="10"/>
          </p:nvPr>
        </p:nvSpPr>
        <p:spPr>
          <a:xfrm>
            <a:off x="6661150" y="879475"/>
            <a:ext cx="1763713" cy="2950925"/>
          </a:xfrm>
          <a:prstGeom prst="rect">
            <a:avLst/>
          </a:prstGeom>
        </p:spPr>
        <p:txBody>
          <a:bodyPr lIns="0" tIns="0" rIns="0" bIns="0"/>
          <a:lstStyle>
            <a:lvl1pPr marL="0" indent="0" algn="just">
              <a:buNone/>
              <a:defRPr lang="en-US" altLang="ko-KR" sz="80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4572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2pPr>
            <a:lvl3pPr marL="9144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3pPr>
            <a:lvl4pPr marL="13716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4pPr>
            <a:lvl5pPr marL="18288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5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Our Team : type 5">
    <p:spTree>
      <p:nvGrpSpPr>
        <p:cNvPr id="1" name=""/>
        <p:cNvGrpSpPr/>
        <p:nvPr/>
      </p:nvGrpSpPr>
      <p:grpSpPr>
        <a:xfrm>
          <a:off x="0" y="0"/>
          <a:ext cx="0" cy="0"/>
          <a:chOff x="0" y="0"/>
          <a:chExt cx="0" cy="0"/>
        </a:xfrm>
      </p:grpSpPr>
      <p:graphicFrame>
        <p:nvGraphicFramePr>
          <p:cNvPr id="35" name="Object 289"/>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
                  <p:embed/>
                </p:oleObj>
              </mc:Choice>
              <mc:Fallback>
                <p:oleObj name="think-cell Slide" r:id="rId3" imgW="12700" imgH="12700" progId="">
                  <p:embed/>
                  <p:pic>
                    <p:nvPicPr>
                      <p:cNvPr id="0" name="Object 28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Oval 8"/>
          <p:cNvSpPr/>
          <p:nvPr userDrawn="1"/>
        </p:nvSpPr>
        <p:spPr>
          <a:xfrm flipH="1">
            <a:off x="8244254" y="4866085"/>
            <a:ext cx="211015" cy="171450"/>
          </a:xfrm>
          <a:prstGeom prst="ellipse">
            <a:avLst/>
          </a:prstGeom>
          <a:solidFill>
            <a:schemeClr val="tx2">
              <a:alpha val="25000"/>
            </a:schemeClr>
          </a:solidFill>
          <a:ln>
            <a:noFill/>
          </a:ln>
        </p:spPr>
        <p:style>
          <a:lnRef idx="2">
            <a:schemeClr val="dk1"/>
          </a:lnRef>
          <a:fillRef idx="1">
            <a:schemeClr val="lt1"/>
          </a:fillRef>
          <a:effectRef idx="0">
            <a:schemeClr val="dk1"/>
          </a:effectRef>
          <a:fontRef idx="minor">
            <a:schemeClr val="dk1"/>
          </a:fontRef>
        </p:style>
        <p:txBody>
          <a:bodyPr lIns="0" tIns="0" rIns="0" bIns="8100" anchor="ctr"/>
          <a:lstStyle/>
          <a:p>
            <a:pPr algn="ctr" eaLnBrk="1" fontAlgn="auto" latinLnBrk="1" hangingPunct="1">
              <a:spcBef>
                <a:spcPts val="0"/>
              </a:spcBef>
              <a:spcAft>
                <a:spcPts val="0"/>
              </a:spcAft>
              <a:defRPr/>
            </a:pPr>
            <a:endParaRPr lang="en-US" sz="675" dirty="0">
              <a:gradFill flip="none" rotWithShape="1">
                <a:gsLst>
                  <a:gs pos="0">
                    <a:srgbClr val="FFFFFF"/>
                  </a:gs>
                  <a:gs pos="100000">
                    <a:srgbClr val="FFFFFF"/>
                  </a:gs>
                </a:gsLst>
                <a:lin ang="0" scaled="1"/>
                <a:tileRect/>
              </a:gradFill>
              <a:latin typeface="Bebas Neue"/>
            </a:endParaRPr>
          </a:p>
        </p:txBody>
      </p:sp>
      <p:cxnSp>
        <p:nvCxnSpPr>
          <p:cNvPr id="37" name="직선 연결선 25"/>
          <p:cNvCxnSpPr/>
          <p:nvPr/>
        </p:nvCxnSpPr>
        <p:spPr>
          <a:xfrm>
            <a:off x="720969" y="742950"/>
            <a:ext cx="3238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슬라이드 번호 개체 틀 4"/>
          <p:cNvSpPr txBox="1"/>
          <p:nvPr/>
        </p:nvSpPr>
        <p:spPr>
          <a:xfrm>
            <a:off x="8127024" y="4867275"/>
            <a:ext cx="413238" cy="179785"/>
          </a:xfrm>
          <a:prstGeom prst="rect">
            <a:avLst/>
          </a:prstGeom>
        </p:spPr>
        <p:txBody>
          <a:bodyPr tIns="0" bIns="0" anchor="ctr"/>
          <a:lstStyle>
            <a:lvl1pPr eaLnBrk="0" hangingPunct="0">
              <a:defRPr>
                <a:solidFill>
                  <a:schemeClr val="tx1"/>
                </a:solidFill>
                <a:latin typeface="Arial" panose="020B0604020202020204" pitchFamily="34" charset="0"/>
                <a:ea typeface="Roboto Condensed Light"/>
                <a:cs typeface="Roboto Condensed Light"/>
              </a:defRPr>
            </a:lvl1pPr>
            <a:lvl2pPr marL="742950" indent="-285750" eaLnBrk="0" hangingPunct="0">
              <a:defRPr>
                <a:solidFill>
                  <a:schemeClr val="tx1"/>
                </a:solidFill>
                <a:latin typeface="Arial" panose="020B0604020202020204" pitchFamily="34" charset="0"/>
                <a:ea typeface="Roboto Condensed Light"/>
                <a:cs typeface="Roboto Condensed Light"/>
              </a:defRPr>
            </a:lvl2pPr>
            <a:lvl3pPr marL="1143000" indent="-228600" eaLnBrk="0" hangingPunct="0">
              <a:defRPr>
                <a:solidFill>
                  <a:schemeClr val="tx1"/>
                </a:solidFill>
                <a:latin typeface="Arial" panose="020B0604020202020204" pitchFamily="34" charset="0"/>
                <a:ea typeface="Roboto Condensed Light"/>
                <a:cs typeface="Roboto Condensed Light"/>
              </a:defRPr>
            </a:lvl3pPr>
            <a:lvl4pPr marL="1600200" indent="-228600" eaLnBrk="0" hangingPunct="0">
              <a:defRPr>
                <a:solidFill>
                  <a:schemeClr val="tx1"/>
                </a:solidFill>
                <a:latin typeface="Arial" panose="020B0604020202020204" pitchFamily="34" charset="0"/>
                <a:ea typeface="Roboto Condensed Light"/>
                <a:cs typeface="Roboto Condensed Light"/>
              </a:defRPr>
            </a:lvl4pPr>
            <a:lvl5pPr marL="2057400" indent="-228600" eaLnBrk="0" hangingPunct="0">
              <a:defRPr>
                <a:solidFill>
                  <a:schemeClr val="tx1"/>
                </a:solidFill>
                <a:latin typeface="Arial" panose="020B0604020202020204" pitchFamily="34" charset="0"/>
                <a:ea typeface="Roboto Condensed Light"/>
                <a:cs typeface="Roboto Condensed Light"/>
              </a:defRPr>
            </a:lvl5pPr>
            <a:lvl6pPr marL="25146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6pPr>
            <a:lvl7pPr marL="29718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7pPr>
            <a:lvl8pPr marL="34290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8pPr>
            <a:lvl9pPr marL="38862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9pPr>
          </a:lstStyle>
          <a:p>
            <a:pPr algn="ctr" eaLnBrk="1" latinLnBrk="1" hangingPunct="1">
              <a:defRPr/>
            </a:pPr>
            <a:fld id="{1474C738-893B-486E-B22C-B1AD6DDF9756}" type="slidenum">
              <a:rPr lang="ko-KR" altLang="en-US" sz="675" b="1" smtClean="0">
                <a:solidFill>
                  <a:srgbClr val="FFFFFF"/>
                </a:solidFill>
                <a:latin typeface="Roboto Condensed Regular"/>
              </a:rPr>
            </a:fld>
            <a:endParaRPr lang="ko-KR" altLang="en-US" sz="675" b="1">
              <a:solidFill>
                <a:srgbClr val="FFFFFF"/>
              </a:solidFill>
              <a:latin typeface="Roboto Condensed Regular"/>
            </a:endParaRPr>
          </a:p>
        </p:txBody>
      </p:sp>
      <p:cxnSp>
        <p:nvCxnSpPr>
          <p:cNvPr id="39" name="직선 연결선 34"/>
          <p:cNvCxnSpPr/>
          <p:nvPr userDrawn="1"/>
        </p:nvCxnSpPr>
        <p:spPr>
          <a:xfrm>
            <a:off x="1462454" y="3533775"/>
            <a:ext cx="28135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자유형 35"/>
          <p:cNvSpPr/>
          <p:nvPr userDrawn="1"/>
        </p:nvSpPr>
        <p:spPr>
          <a:xfrm>
            <a:off x="1516674" y="2747963"/>
            <a:ext cx="171450" cy="146447"/>
          </a:xfrm>
          <a:custGeom>
            <a:avLst/>
            <a:gdLst>
              <a:gd name="connsiteX0" fmla="*/ 85279 w 170558"/>
              <a:gd name="connsiteY0" fmla="*/ 0 h 147033"/>
              <a:gd name="connsiteX1" fmla="*/ 170558 w 170558"/>
              <a:gd name="connsiteY1" fmla="*/ 147033 h 147033"/>
              <a:gd name="connsiteX2" fmla="*/ 124979 w 170558"/>
              <a:gd name="connsiteY2" fmla="*/ 147033 h 147033"/>
              <a:gd name="connsiteX3" fmla="*/ 85279 w 170558"/>
              <a:gd name="connsiteY3" fmla="*/ 78584 h 147033"/>
              <a:gd name="connsiteX4" fmla="*/ 45579 w 170558"/>
              <a:gd name="connsiteY4" fmla="*/ 147033 h 147033"/>
              <a:gd name="connsiteX5" fmla="*/ 0 w 170558"/>
              <a:gd name="connsiteY5" fmla="*/ 147033 h 14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558" h="147033">
                <a:moveTo>
                  <a:pt x="85279" y="0"/>
                </a:moveTo>
                <a:lnTo>
                  <a:pt x="170558" y="147033"/>
                </a:lnTo>
                <a:lnTo>
                  <a:pt x="124979" y="147033"/>
                </a:lnTo>
                <a:lnTo>
                  <a:pt x="85279" y="78584"/>
                </a:lnTo>
                <a:lnTo>
                  <a:pt x="45579" y="147033"/>
                </a:lnTo>
                <a:lnTo>
                  <a:pt x="0" y="147033"/>
                </a:lnTo>
                <a:close/>
              </a:path>
            </a:pathLst>
          </a:cu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cxnSp>
        <p:nvCxnSpPr>
          <p:cNvPr id="41" name="직선 연결선 36"/>
          <p:cNvCxnSpPr/>
          <p:nvPr userDrawn="1"/>
        </p:nvCxnSpPr>
        <p:spPr>
          <a:xfrm>
            <a:off x="5424854" y="3533775"/>
            <a:ext cx="28135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자유형 37"/>
          <p:cNvSpPr/>
          <p:nvPr userDrawn="1"/>
        </p:nvSpPr>
        <p:spPr>
          <a:xfrm>
            <a:off x="5480538" y="2747963"/>
            <a:ext cx="169985" cy="146447"/>
          </a:xfrm>
          <a:custGeom>
            <a:avLst/>
            <a:gdLst>
              <a:gd name="connsiteX0" fmla="*/ 85279 w 170558"/>
              <a:gd name="connsiteY0" fmla="*/ 0 h 147033"/>
              <a:gd name="connsiteX1" fmla="*/ 170558 w 170558"/>
              <a:gd name="connsiteY1" fmla="*/ 147033 h 147033"/>
              <a:gd name="connsiteX2" fmla="*/ 124979 w 170558"/>
              <a:gd name="connsiteY2" fmla="*/ 147033 h 147033"/>
              <a:gd name="connsiteX3" fmla="*/ 85279 w 170558"/>
              <a:gd name="connsiteY3" fmla="*/ 78584 h 147033"/>
              <a:gd name="connsiteX4" fmla="*/ 45579 w 170558"/>
              <a:gd name="connsiteY4" fmla="*/ 147033 h 147033"/>
              <a:gd name="connsiteX5" fmla="*/ 0 w 170558"/>
              <a:gd name="connsiteY5" fmla="*/ 147033 h 14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558" h="147033">
                <a:moveTo>
                  <a:pt x="85279" y="0"/>
                </a:moveTo>
                <a:lnTo>
                  <a:pt x="170558" y="147033"/>
                </a:lnTo>
                <a:lnTo>
                  <a:pt x="124979" y="147033"/>
                </a:lnTo>
                <a:lnTo>
                  <a:pt x="85279" y="78584"/>
                </a:lnTo>
                <a:lnTo>
                  <a:pt x="45579" y="147033"/>
                </a:lnTo>
                <a:lnTo>
                  <a:pt x="0" y="147033"/>
                </a:lnTo>
                <a:close/>
              </a:path>
            </a:pathLst>
          </a:cu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cxnSp>
        <p:nvCxnSpPr>
          <p:cNvPr id="43" name="직선 연결선 38"/>
          <p:cNvCxnSpPr/>
          <p:nvPr userDrawn="1"/>
        </p:nvCxnSpPr>
        <p:spPr>
          <a:xfrm>
            <a:off x="3443654" y="1596629"/>
            <a:ext cx="28135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자유형 39"/>
          <p:cNvSpPr/>
          <p:nvPr userDrawn="1"/>
        </p:nvSpPr>
        <p:spPr>
          <a:xfrm flipV="1">
            <a:off x="3499338" y="2747963"/>
            <a:ext cx="169985" cy="146447"/>
          </a:xfrm>
          <a:custGeom>
            <a:avLst/>
            <a:gdLst>
              <a:gd name="connsiteX0" fmla="*/ 85279 w 170558"/>
              <a:gd name="connsiteY0" fmla="*/ 0 h 147033"/>
              <a:gd name="connsiteX1" fmla="*/ 170558 w 170558"/>
              <a:gd name="connsiteY1" fmla="*/ 147033 h 147033"/>
              <a:gd name="connsiteX2" fmla="*/ 124979 w 170558"/>
              <a:gd name="connsiteY2" fmla="*/ 147033 h 147033"/>
              <a:gd name="connsiteX3" fmla="*/ 85279 w 170558"/>
              <a:gd name="connsiteY3" fmla="*/ 78584 h 147033"/>
              <a:gd name="connsiteX4" fmla="*/ 45579 w 170558"/>
              <a:gd name="connsiteY4" fmla="*/ 147033 h 147033"/>
              <a:gd name="connsiteX5" fmla="*/ 0 w 170558"/>
              <a:gd name="connsiteY5" fmla="*/ 147033 h 14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558" h="147033">
                <a:moveTo>
                  <a:pt x="85279" y="0"/>
                </a:moveTo>
                <a:lnTo>
                  <a:pt x="170558" y="147033"/>
                </a:lnTo>
                <a:lnTo>
                  <a:pt x="124979" y="147033"/>
                </a:lnTo>
                <a:lnTo>
                  <a:pt x="85279" y="78584"/>
                </a:lnTo>
                <a:lnTo>
                  <a:pt x="45579" y="147033"/>
                </a:lnTo>
                <a:lnTo>
                  <a:pt x="0" y="147033"/>
                </a:lnTo>
                <a:close/>
              </a:path>
            </a:pathLst>
          </a:cu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cxnSp>
        <p:nvCxnSpPr>
          <p:cNvPr id="45" name="직선 연결선 40"/>
          <p:cNvCxnSpPr/>
          <p:nvPr userDrawn="1"/>
        </p:nvCxnSpPr>
        <p:spPr>
          <a:xfrm>
            <a:off x="7406054" y="1596629"/>
            <a:ext cx="28135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자유형 41"/>
          <p:cNvSpPr/>
          <p:nvPr userDrawn="1"/>
        </p:nvSpPr>
        <p:spPr>
          <a:xfrm flipV="1">
            <a:off x="7461738" y="2747963"/>
            <a:ext cx="169985" cy="146447"/>
          </a:xfrm>
          <a:custGeom>
            <a:avLst/>
            <a:gdLst>
              <a:gd name="connsiteX0" fmla="*/ 85279 w 170558"/>
              <a:gd name="connsiteY0" fmla="*/ 0 h 147033"/>
              <a:gd name="connsiteX1" fmla="*/ 170558 w 170558"/>
              <a:gd name="connsiteY1" fmla="*/ 147033 h 147033"/>
              <a:gd name="connsiteX2" fmla="*/ 124979 w 170558"/>
              <a:gd name="connsiteY2" fmla="*/ 147033 h 147033"/>
              <a:gd name="connsiteX3" fmla="*/ 85279 w 170558"/>
              <a:gd name="connsiteY3" fmla="*/ 78584 h 147033"/>
              <a:gd name="connsiteX4" fmla="*/ 45579 w 170558"/>
              <a:gd name="connsiteY4" fmla="*/ 147033 h 147033"/>
              <a:gd name="connsiteX5" fmla="*/ 0 w 170558"/>
              <a:gd name="connsiteY5" fmla="*/ 147033 h 14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558" h="147033">
                <a:moveTo>
                  <a:pt x="85279" y="0"/>
                </a:moveTo>
                <a:lnTo>
                  <a:pt x="170558" y="147033"/>
                </a:lnTo>
                <a:lnTo>
                  <a:pt x="124979" y="147033"/>
                </a:lnTo>
                <a:lnTo>
                  <a:pt x="85279" y="78584"/>
                </a:lnTo>
                <a:lnTo>
                  <a:pt x="45579" y="147033"/>
                </a:lnTo>
                <a:lnTo>
                  <a:pt x="0" y="147033"/>
                </a:lnTo>
                <a:close/>
              </a:path>
            </a:pathLst>
          </a:cu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158" name="텍스트 개체 틀 32"/>
          <p:cNvSpPr>
            <a:spLocks noGrp="1"/>
          </p:cNvSpPr>
          <p:nvPr>
            <p:ph type="body" sz="quarter" idx="27"/>
          </p:nvPr>
        </p:nvSpPr>
        <p:spPr>
          <a:xfrm>
            <a:off x="6664898" y="1312694"/>
            <a:ext cx="1763712" cy="209207"/>
          </a:xfrm>
          <a:prstGeom prst="rect">
            <a:avLst/>
          </a:prstGeom>
        </p:spPr>
        <p:txBody>
          <a:bodyPr lIns="0" tIns="0" rIns="0" bIns="0"/>
          <a:lstStyle>
            <a:lvl1pPr marL="0" indent="0" algn="ctr">
              <a:buNone/>
              <a:defRPr lang="ko-KR" altLang="en-US" sz="750"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9" name="텍스트 개체 틀 30"/>
          <p:cNvSpPr>
            <a:spLocks noGrp="1"/>
          </p:cNvSpPr>
          <p:nvPr>
            <p:ph type="body" sz="quarter" idx="28"/>
          </p:nvPr>
        </p:nvSpPr>
        <p:spPr>
          <a:xfrm>
            <a:off x="6664898" y="1055313"/>
            <a:ext cx="1763712" cy="257380"/>
          </a:xfrm>
          <a:prstGeom prst="rect">
            <a:avLst/>
          </a:prstGeom>
        </p:spPr>
        <p:txBody>
          <a:bodyPr lIns="0" tIns="0" rIns="0" bIns="0"/>
          <a:lstStyle>
            <a:lvl1pPr marL="0" indent="0" algn="ctr">
              <a:buNone/>
              <a:defRPr lang="ko-KR" altLang="en-US" sz="1125"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60" name="텍스트 개체 틀 34"/>
          <p:cNvSpPr>
            <a:spLocks noGrp="1"/>
          </p:cNvSpPr>
          <p:nvPr>
            <p:ph type="body" sz="quarter" idx="29"/>
          </p:nvPr>
        </p:nvSpPr>
        <p:spPr>
          <a:xfrm>
            <a:off x="6664898" y="1716974"/>
            <a:ext cx="1763712" cy="667519"/>
          </a:xfrm>
          <a:prstGeom prst="rect">
            <a:avLst/>
          </a:prstGeom>
        </p:spPr>
        <p:txBody>
          <a:bodyPr lIns="0" tIns="0" rIns="0" bIns="0"/>
          <a:lstStyle>
            <a:lvl1pPr marL="0" indent="0" algn="ctr">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76" name="텍스트 개체 틀 133"/>
          <p:cNvSpPr>
            <a:spLocks noGrp="1"/>
          </p:cNvSpPr>
          <p:nvPr>
            <p:ph type="body" sz="quarter" idx="42"/>
          </p:nvPr>
        </p:nvSpPr>
        <p:spPr>
          <a:xfrm>
            <a:off x="2702117" y="1055313"/>
            <a:ext cx="1763712" cy="257380"/>
          </a:xfrm>
          <a:prstGeom prst="rect">
            <a:avLst/>
          </a:prstGeom>
        </p:spPr>
        <p:txBody>
          <a:bodyPr lIns="0" tIns="0" rIns="0" bIns="0"/>
          <a:lstStyle>
            <a:lvl1pPr marL="0" indent="0" algn="ctr">
              <a:buFont typeface="Arial" panose="020B0604020202020204" pitchFamily="34" charset="0"/>
              <a:buNone/>
              <a:defRPr lang="ko-KR" altLang="en-US" sz="1125" b="1" kern="1200" dirty="0" smtClean="0">
                <a:gradFill>
                  <a:gsLst>
                    <a:gs pos="0">
                      <a:schemeClr val="tx2"/>
                    </a:gs>
                    <a:gs pos="100000">
                      <a:schemeClr val="tx2"/>
                    </a:gs>
                  </a:gsLst>
                  <a:lin ang="5400000" scaled="0"/>
                </a:gradFill>
                <a:latin typeface="Roboto Condensed Regular"/>
                <a:ea typeface="Roboto Light" pitchFamily="2" charset="0"/>
                <a:cs typeface="Roboto Condensed Regular"/>
              </a:defRPr>
            </a:lvl1pPr>
            <a:lvl2pPr>
              <a:defRPr lang="ko-KR" altLang="en-US" sz="1125" b="1" kern="1200" dirty="0" smtClean="0">
                <a:gradFill>
                  <a:gsLst>
                    <a:gs pos="0">
                      <a:schemeClr val="tx2"/>
                    </a:gs>
                    <a:gs pos="100000">
                      <a:schemeClr val="tx2"/>
                    </a:gs>
                  </a:gsLst>
                  <a:lin ang="5400000" scaled="0"/>
                </a:gradFill>
                <a:latin typeface="Roboto Condensed Regular"/>
                <a:ea typeface="Roboto Light" pitchFamily="2" charset="0"/>
                <a:cs typeface="Roboto Condensed Regular"/>
              </a:defRPr>
            </a:lvl2pPr>
            <a:lvl3pPr>
              <a:defRPr lang="ko-KR" altLang="en-US" sz="1125" b="1" kern="1200" dirty="0" smtClean="0">
                <a:gradFill>
                  <a:gsLst>
                    <a:gs pos="0">
                      <a:schemeClr val="tx2"/>
                    </a:gs>
                    <a:gs pos="100000">
                      <a:schemeClr val="tx2"/>
                    </a:gs>
                  </a:gsLst>
                  <a:lin ang="5400000" scaled="0"/>
                </a:gradFill>
                <a:latin typeface="Roboto Condensed Regular"/>
                <a:ea typeface="Roboto Light" pitchFamily="2" charset="0"/>
                <a:cs typeface="Roboto Condensed Regular"/>
              </a:defRPr>
            </a:lvl3pPr>
            <a:lvl4pPr>
              <a:defRPr lang="ko-KR" altLang="en-US" sz="1125" b="1" kern="1200" dirty="0" smtClean="0">
                <a:gradFill>
                  <a:gsLst>
                    <a:gs pos="0">
                      <a:schemeClr val="tx2"/>
                    </a:gs>
                    <a:gs pos="100000">
                      <a:schemeClr val="tx2"/>
                    </a:gs>
                  </a:gsLst>
                  <a:lin ang="5400000" scaled="0"/>
                </a:gradFill>
                <a:latin typeface="Roboto Condensed Regular"/>
                <a:ea typeface="Roboto Light" pitchFamily="2" charset="0"/>
                <a:cs typeface="Roboto Condensed Regular"/>
              </a:defRPr>
            </a:lvl4pPr>
            <a:lvl5pPr>
              <a:defRPr lang="ko-KR" altLang="en-US" sz="1125"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5pPr>
          </a:lstStyle>
          <a:p>
            <a:pPr lvl="0"/>
            <a:r>
              <a:rPr lang="en-US" altLang="ko-KR"/>
              <a:t>Click to edit Master text styles</a:t>
            </a:r>
            <a:endParaRPr lang="en-US" altLang="ko-KR"/>
          </a:p>
        </p:txBody>
      </p:sp>
      <p:sp>
        <p:nvSpPr>
          <p:cNvPr id="177" name="텍스트 개체 틀 135"/>
          <p:cNvSpPr>
            <a:spLocks noGrp="1"/>
          </p:cNvSpPr>
          <p:nvPr>
            <p:ph type="body" sz="quarter" idx="43"/>
          </p:nvPr>
        </p:nvSpPr>
        <p:spPr>
          <a:xfrm>
            <a:off x="2702117" y="1312694"/>
            <a:ext cx="1763712" cy="209207"/>
          </a:xfrm>
          <a:prstGeom prst="rect">
            <a:avLst/>
          </a:prstGeom>
        </p:spPr>
        <p:txBody>
          <a:bodyPr lIns="0" tIns="0" rIns="0" bIns="0"/>
          <a:lstStyle>
            <a:lvl1pPr marL="0" indent="0" algn="ctr">
              <a:buFont typeface="Arial" panose="020B0604020202020204" pitchFamily="34" charset="0"/>
              <a:buNone/>
              <a:defRPr lang="ko-KR" altLang="en-US" sz="750"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stStyle>
          <a:p>
            <a:pPr lvl="0"/>
            <a:r>
              <a:rPr lang="en-US" altLang="ko-KR"/>
              <a:t>Click to edit Master text styles</a:t>
            </a:r>
            <a:endParaRPr lang="en-US" altLang="ko-KR"/>
          </a:p>
        </p:txBody>
      </p:sp>
      <p:sp>
        <p:nvSpPr>
          <p:cNvPr id="178" name="텍스트 개체 틀 137"/>
          <p:cNvSpPr>
            <a:spLocks noGrp="1"/>
          </p:cNvSpPr>
          <p:nvPr>
            <p:ph type="body" sz="quarter" idx="44"/>
          </p:nvPr>
        </p:nvSpPr>
        <p:spPr>
          <a:xfrm>
            <a:off x="2702117" y="1716974"/>
            <a:ext cx="1763712" cy="667519"/>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stStyle>
          <a:p>
            <a:pPr lvl="0"/>
            <a:r>
              <a:rPr lang="en-US" altLang="ko-KR"/>
              <a:t>Click to edit Master text styles</a:t>
            </a:r>
            <a:endParaRPr lang="en-US" altLang="ko-KR"/>
          </a:p>
        </p:txBody>
      </p:sp>
      <p:sp>
        <p:nvSpPr>
          <p:cNvPr id="9" name="그림 개체 틀 8"/>
          <p:cNvSpPr>
            <a:spLocks noGrp="1"/>
          </p:cNvSpPr>
          <p:nvPr>
            <p:ph type="pic" sz="quarter" idx="10"/>
          </p:nvPr>
        </p:nvSpPr>
        <p:spPr>
          <a:xfrm>
            <a:off x="792582" y="1055312"/>
            <a:ext cx="1620000" cy="1620000"/>
          </a:xfrm>
          <a:prstGeom prst="ellipse">
            <a:avLst/>
          </a:prstGeom>
          <a:solidFill>
            <a:schemeClr val="bg2">
              <a:lumMod val="9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
        <p:nvSpPr>
          <p:cNvPr id="12" name="그림 개체 틀 8"/>
          <p:cNvSpPr>
            <a:spLocks noGrp="1"/>
          </p:cNvSpPr>
          <p:nvPr>
            <p:ph type="pic" sz="quarter" idx="12"/>
          </p:nvPr>
        </p:nvSpPr>
        <p:spPr>
          <a:xfrm>
            <a:off x="4755364" y="1055312"/>
            <a:ext cx="1620000" cy="1620000"/>
          </a:xfrm>
          <a:prstGeom prst="ellipse">
            <a:avLst/>
          </a:prstGeom>
          <a:solidFill>
            <a:schemeClr val="bg2">
              <a:lumMod val="9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3" name="그림 개체 틀 8"/>
          <p:cNvSpPr>
            <a:spLocks noGrp="1"/>
          </p:cNvSpPr>
          <p:nvPr>
            <p:ph type="pic" sz="quarter" idx="13"/>
          </p:nvPr>
        </p:nvSpPr>
        <p:spPr>
          <a:xfrm>
            <a:off x="6736754" y="2989834"/>
            <a:ext cx="1620000" cy="1620000"/>
          </a:xfrm>
          <a:prstGeom prst="ellipse">
            <a:avLst/>
          </a:prstGeom>
          <a:solidFill>
            <a:schemeClr val="bg2">
              <a:lumMod val="9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0" name="그림 개체 틀 8"/>
          <p:cNvSpPr>
            <a:spLocks noGrp="1"/>
          </p:cNvSpPr>
          <p:nvPr>
            <p:ph type="pic" sz="quarter" idx="11"/>
          </p:nvPr>
        </p:nvSpPr>
        <p:spPr>
          <a:xfrm>
            <a:off x="2773973" y="2989834"/>
            <a:ext cx="1620000" cy="1620000"/>
          </a:xfrm>
          <a:prstGeom prst="ellipse">
            <a:avLst/>
          </a:prstGeom>
          <a:solidFill>
            <a:schemeClr val="bg2">
              <a:lumMod val="9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51" name="텍스트 개체 틀 32"/>
          <p:cNvSpPr>
            <a:spLocks noGrp="1"/>
          </p:cNvSpPr>
          <p:nvPr>
            <p:ph type="body" sz="quarter" idx="15"/>
          </p:nvPr>
        </p:nvSpPr>
        <p:spPr>
          <a:xfrm>
            <a:off x="720726" y="3248974"/>
            <a:ext cx="1763712" cy="209207"/>
          </a:xfrm>
          <a:prstGeom prst="rect">
            <a:avLst/>
          </a:prstGeom>
        </p:spPr>
        <p:txBody>
          <a:bodyPr lIns="0" tIns="0" rIns="0" bIns="0"/>
          <a:lstStyle>
            <a:lvl1pPr marL="0" indent="0" algn="ctr">
              <a:buFont typeface="Arial" panose="020B0604020202020204" pitchFamily="34" charset="0"/>
              <a:buNone/>
              <a:defRPr lang="ko-KR" altLang="en-US" sz="750"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3" name="텍스트 개체 틀 30"/>
          <p:cNvSpPr>
            <a:spLocks noGrp="1"/>
          </p:cNvSpPr>
          <p:nvPr>
            <p:ph type="body" sz="quarter" idx="14"/>
          </p:nvPr>
        </p:nvSpPr>
        <p:spPr>
          <a:xfrm>
            <a:off x="720726" y="2991594"/>
            <a:ext cx="1763712" cy="257380"/>
          </a:xfrm>
          <a:prstGeom prst="rect">
            <a:avLst/>
          </a:prstGeom>
        </p:spPr>
        <p:txBody>
          <a:bodyPr lIns="0" tIns="0" rIns="0" bIns="0"/>
          <a:lstStyle>
            <a:lvl1pPr marL="0" indent="0" algn="ctr">
              <a:buFont typeface="Arial" panose="020B0604020202020204" pitchFamily="34" charset="0"/>
              <a:buNone/>
              <a:defRPr lang="ko-KR" altLang="en-US" sz="1125"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54" name="텍스트 개체 틀 34"/>
          <p:cNvSpPr>
            <a:spLocks noGrp="1"/>
          </p:cNvSpPr>
          <p:nvPr>
            <p:ph type="body" sz="quarter" idx="16"/>
          </p:nvPr>
        </p:nvSpPr>
        <p:spPr>
          <a:xfrm>
            <a:off x="720726" y="3653254"/>
            <a:ext cx="1763712" cy="667519"/>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55" name="텍스트 개체 틀 32"/>
          <p:cNvSpPr>
            <a:spLocks noGrp="1"/>
          </p:cNvSpPr>
          <p:nvPr>
            <p:ph type="body" sz="quarter" idx="24"/>
          </p:nvPr>
        </p:nvSpPr>
        <p:spPr>
          <a:xfrm>
            <a:off x="4683508" y="3248974"/>
            <a:ext cx="1763712" cy="209207"/>
          </a:xfrm>
          <a:prstGeom prst="rect">
            <a:avLst/>
          </a:prstGeom>
        </p:spPr>
        <p:txBody>
          <a:bodyPr lIns="0" tIns="0" rIns="0" bIns="0"/>
          <a:lstStyle>
            <a:lvl1pPr marL="0" indent="0" algn="ctr">
              <a:buNone/>
              <a:defRPr lang="ko-KR" altLang="en-US" sz="750"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6" name="텍스트 개체 틀 30"/>
          <p:cNvSpPr>
            <a:spLocks noGrp="1"/>
          </p:cNvSpPr>
          <p:nvPr>
            <p:ph type="body" sz="quarter" idx="25"/>
          </p:nvPr>
        </p:nvSpPr>
        <p:spPr>
          <a:xfrm>
            <a:off x="4683508" y="2991594"/>
            <a:ext cx="1763712" cy="257380"/>
          </a:xfrm>
          <a:prstGeom prst="rect">
            <a:avLst/>
          </a:prstGeom>
        </p:spPr>
        <p:txBody>
          <a:bodyPr lIns="0" tIns="0" rIns="0" bIns="0"/>
          <a:lstStyle>
            <a:lvl1pPr marL="0" indent="0" algn="ctr">
              <a:buNone/>
              <a:defRPr lang="ko-KR" altLang="en-US" sz="1125"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57" name="텍스트 개체 틀 34"/>
          <p:cNvSpPr>
            <a:spLocks noGrp="1"/>
          </p:cNvSpPr>
          <p:nvPr>
            <p:ph type="body" sz="quarter" idx="26"/>
          </p:nvPr>
        </p:nvSpPr>
        <p:spPr>
          <a:xfrm>
            <a:off x="4683508" y="3653254"/>
            <a:ext cx="1763712" cy="667519"/>
          </a:xfrm>
          <a:prstGeom prst="rect">
            <a:avLst/>
          </a:prstGeom>
        </p:spPr>
        <p:txBody>
          <a:bodyPr lIns="0" tIns="0" rIns="0" bIns="0"/>
          <a:lstStyle>
            <a:lvl1pPr marL="0" indent="0" algn="ctr">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82" name="텍스트 개체 틀 9"/>
          <p:cNvSpPr>
            <a:spLocks noGrp="1"/>
          </p:cNvSpPr>
          <p:nvPr>
            <p:ph type="body" sz="quarter" idx="69"/>
          </p:nvPr>
        </p:nvSpPr>
        <p:spPr>
          <a:xfrm>
            <a:off x="1008941" y="4303135"/>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83" name="텍스트 개체 틀 9"/>
          <p:cNvSpPr>
            <a:spLocks noGrp="1"/>
          </p:cNvSpPr>
          <p:nvPr>
            <p:ph type="body" sz="quarter" idx="70"/>
          </p:nvPr>
        </p:nvSpPr>
        <p:spPr>
          <a:xfrm>
            <a:off x="1320702" y="4303135"/>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84" name="텍스트 개체 틀 9"/>
          <p:cNvSpPr>
            <a:spLocks noGrp="1"/>
          </p:cNvSpPr>
          <p:nvPr>
            <p:ph type="body" sz="quarter" idx="71"/>
          </p:nvPr>
        </p:nvSpPr>
        <p:spPr>
          <a:xfrm>
            <a:off x="1632463" y="4303135"/>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85" name="텍스트 개체 틀 9"/>
          <p:cNvSpPr>
            <a:spLocks noGrp="1"/>
          </p:cNvSpPr>
          <p:nvPr>
            <p:ph type="body" sz="quarter" idx="72"/>
          </p:nvPr>
        </p:nvSpPr>
        <p:spPr>
          <a:xfrm>
            <a:off x="1944224" y="4303135"/>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86" name="텍스트 개체 틀 9"/>
          <p:cNvSpPr>
            <a:spLocks noGrp="1"/>
          </p:cNvSpPr>
          <p:nvPr>
            <p:ph type="body" sz="quarter" idx="73"/>
          </p:nvPr>
        </p:nvSpPr>
        <p:spPr>
          <a:xfrm>
            <a:off x="2990332" y="2366855"/>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87" name="텍스트 개체 틀 9"/>
          <p:cNvSpPr>
            <a:spLocks noGrp="1"/>
          </p:cNvSpPr>
          <p:nvPr>
            <p:ph type="body" sz="quarter" idx="74"/>
          </p:nvPr>
        </p:nvSpPr>
        <p:spPr>
          <a:xfrm>
            <a:off x="3302093" y="2366855"/>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88" name="텍스트 개체 틀 9"/>
          <p:cNvSpPr>
            <a:spLocks noGrp="1"/>
          </p:cNvSpPr>
          <p:nvPr>
            <p:ph type="body" sz="quarter" idx="75"/>
          </p:nvPr>
        </p:nvSpPr>
        <p:spPr>
          <a:xfrm>
            <a:off x="3613854" y="2366855"/>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89" name="텍스트 개체 틀 9"/>
          <p:cNvSpPr>
            <a:spLocks noGrp="1"/>
          </p:cNvSpPr>
          <p:nvPr>
            <p:ph type="body" sz="quarter" idx="76"/>
          </p:nvPr>
        </p:nvSpPr>
        <p:spPr>
          <a:xfrm>
            <a:off x="3925615" y="2366855"/>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0" name="텍스트 개체 틀 9"/>
          <p:cNvSpPr>
            <a:spLocks noGrp="1"/>
          </p:cNvSpPr>
          <p:nvPr>
            <p:ph type="body" sz="quarter" idx="77"/>
          </p:nvPr>
        </p:nvSpPr>
        <p:spPr>
          <a:xfrm>
            <a:off x="4971723" y="4303135"/>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1" name="텍스트 개체 틀 9"/>
          <p:cNvSpPr>
            <a:spLocks noGrp="1"/>
          </p:cNvSpPr>
          <p:nvPr>
            <p:ph type="body" sz="quarter" idx="78"/>
          </p:nvPr>
        </p:nvSpPr>
        <p:spPr>
          <a:xfrm>
            <a:off x="5283484" y="4303135"/>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2" name="텍스트 개체 틀 9"/>
          <p:cNvSpPr>
            <a:spLocks noGrp="1"/>
          </p:cNvSpPr>
          <p:nvPr>
            <p:ph type="body" sz="quarter" idx="79"/>
          </p:nvPr>
        </p:nvSpPr>
        <p:spPr>
          <a:xfrm>
            <a:off x="5595245" y="4303135"/>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3" name="텍스트 개체 틀 9"/>
          <p:cNvSpPr>
            <a:spLocks noGrp="1"/>
          </p:cNvSpPr>
          <p:nvPr>
            <p:ph type="body" sz="quarter" idx="80"/>
          </p:nvPr>
        </p:nvSpPr>
        <p:spPr>
          <a:xfrm>
            <a:off x="5907006" y="4303135"/>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4" name="텍스트 개체 틀 9"/>
          <p:cNvSpPr>
            <a:spLocks noGrp="1"/>
          </p:cNvSpPr>
          <p:nvPr>
            <p:ph type="body" sz="quarter" idx="81"/>
          </p:nvPr>
        </p:nvSpPr>
        <p:spPr>
          <a:xfrm>
            <a:off x="6953113" y="2366855"/>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5" name="텍스트 개체 틀 9"/>
          <p:cNvSpPr>
            <a:spLocks noGrp="1"/>
          </p:cNvSpPr>
          <p:nvPr>
            <p:ph type="body" sz="quarter" idx="82"/>
          </p:nvPr>
        </p:nvSpPr>
        <p:spPr>
          <a:xfrm>
            <a:off x="7264874" y="2366855"/>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6" name="텍스트 개체 틀 9"/>
          <p:cNvSpPr>
            <a:spLocks noGrp="1"/>
          </p:cNvSpPr>
          <p:nvPr>
            <p:ph type="body" sz="quarter" idx="83"/>
          </p:nvPr>
        </p:nvSpPr>
        <p:spPr>
          <a:xfrm>
            <a:off x="7576635" y="2366855"/>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
        <p:nvSpPr>
          <p:cNvPr id="97" name="텍스트 개체 틀 9"/>
          <p:cNvSpPr>
            <a:spLocks noGrp="1"/>
          </p:cNvSpPr>
          <p:nvPr>
            <p:ph type="body" sz="quarter" idx="84"/>
          </p:nvPr>
        </p:nvSpPr>
        <p:spPr>
          <a:xfrm>
            <a:off x="7888396" y="2366855"/>
            <a:ext cx="252000" cy="252000"/>
          </a:xfrm>
          <a:prstGeom prst="ellipse">
            <a:avLst/>
          </a:prstGeom>
          <a:solidFill>
            <a:schemeClr val="accent3">
              <a:lumMod val="85000"/>
            </a:schemeClr>
          </a:solidFill>
        </p:spPr>
        <p:txBody>
          <a:bodyPr lIns="0" tIns="0" rIns="0" bIns="97200" anchor="ctr"/>
          <a:lstStyle>
            <a:lvl1pPr marL="0" indent="0" algn="ctr">
              <a:spcBef>
                <a:spcPts val="0"/>
              </a:spcBef>
              <a:buNone/>
              <a:defRPr sz="1350" baseline="0">
                <a:solidFill>
                  <a:schemeClr val="bg2"/>
                </a:solidFill>
                <a:latin typeface="Socialico" pitchFamily="50"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Members : type 1">
    <p:spTree>
      <p:nvGrpSpPr>
        <p:cNvPr id="1" name=""/>
        <p:cNvGrpSpPr/>
        <p:nvPr/>
      </p:nvGrpSpPr>
      <p:grpSpPr>
        <a:xfrm>
          <a:off x="0" y="0"/>
          <a:ext cx="0" cy="0"/>
          <a:chOff x="0" y="0"/>
          <a:chExt cx="0" cy="0"/>
        </a:xfrm>
      </p:grpSpPr>
      <p:graphicFrame>
        <p:nvGraphicFramePr>
          <p:cNvPr id="59" name="Object 289"/>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
                  <p:embed/>
                </p:oleObj>
              </mc:Choice>
              <mc:Fallback>
                <p:oleObj name="think-cell Slide" r:id="rId3" imgW="12700" imgH="12700" progId="">
                  <p:embed/>
                  <p:pic>
                    <p:nvPicPr>
                      <p:cNvPr id="0" name="Object 28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Oval 8"/>
          <p:cNvSpPr/>
          <p:nvPr userDrawn="1"/>
        </p:nvSpPr>
        <p:spPr>
          <a:xfrm flipH="1">
            <a:off x="8244254" y="4866085"/>
            <a:ext cx="211015" cy="171450"/>
          </a:xfrm>
          <a:prstGeom prst="ellipse">
            <a:avLst/>
          </a:prstGeom>
          <a:solidFill>
            <a:schemeClr val="tx2">
              <a:alpha val="25000"/>
            </a:schemeClr>
          </a:solidFill>
          <a:ln>
            <a:noFill/>
          </a:ln>
        </p:spPr>
        <p:style>
          <a:lnRef idx="2">
            <a:schemeClr val="dk1"/>
          </a:lnRef>
          <a:fillRef idx="1">
            <a:schemeClr val="lt1"/>
          </a:fillRef>
          <a:effectRef idx="0">
            <a:schemeClr val="dk1"/>
          </a:effectRef>
          <a:fontRef idx="minor">
            <a:schemeClr val="dk1"/>
          </a:fontRef>
        </p:style>
        <p:txBody>
          <a:bodyPr lIns="0" tIns="0" rIns="0" bIns="8100" anchor="ctr"/>
          <a:lstStyle/>
          <a:p>
            <a:pPr algn="ctr" eaLnBrk="1" fontAlgn="auto" latinLnBrk="1" hangingPunct="1">
              <a:spcBef>
                <a:spcPts val="0"/>
              </a:spcBef>
              <a:spcAft>
                <a:spcPts val="0"/>
              </a:spcAft>
              <a:defRPr/>
            </a:pPr>
            <a:endParaRPr lang="en-US" sz="675" dirty="0">
              <a:gradFill flip="none" rotWithShape="1">
                <a:gsLst>
                  <a:gs pos="0">
                    <a:srgbClr val="FFFFFF"/>
                  </a:gs>
                  <a:gs pos="100000">
                    <a:srgbClr val="FFFFFF"/>
                  </a:gs>
                </a:gsLst>
                <a:lin ang="0" scaled="1"/>
                <a:tileRect/>
              </a:gradFill>
              <a:latin typeface="Bebas Neue"/>
            </a:endParaRPr>
          </a:p>
        </p:txBody>
      </p:sp>
      <p:cxnSp>
        <p:nvCxnSpPr>
          <p:cNvPr id="61" name="직선 연결선 25"/>
          <p:cNvCxnSpPr/>
          <p:nvPr/>
        </p:nvCxnSpPr>
        <p:spPr>
          <a:xfrm>
            <a:off x="720969" y="742950"/>
            <a:ext cx="3238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2" name="슬라이드 번호 개체 틀 4"/>
          <p:cNvSpPr txBox="1"/>
          <p:nvPr/>
        </p:nvSpPr>
        <p:spPr>
          <a:xfrm>
            <a:off x="8127024" y="4867275"/>
            <a:ext cx="413238" cy="179785"/>
          </a:xfrm>
          <a:prstGeom prst="rect">
            <a:avLst/>
          </a:prstGeom>
        </p:spPr>
        <p:txBody>
          <a:bodyPr tIns="0" bIns="0" anchor="ctr"/>
          <a:lstStyle>
            <a:lvl1pPr eaLnBrk="0" hangingPunct="0">
              <a:defRPr>
                <a:solidFill>
                  <a:schemeClr val="tx1"/>
                </a:solidFill>
                <a:latin typeface="Arial" panose="020B0604020202020204" pitchFamily="34" charset="0"/>
                <a:ea typeface="Roboto Condensed Light"/>
                <a:cs typeface="Roboto Condensed Light"/>
              </a:defRPr>
            </a:lvl1pPr>
            <a:lvl2pPr marL="742950" indent="-285750" eaLnBrk="0" hangingPunct="0">
              <a:defRPr>
                <a:solidFill>
                  <a:schemeClr val="tx1"/>
                </a:solidFill>
                <a:latin typeface="Arial" panose="020B0604020202020204" pitchFamily="34" charset="0"/>
                <a:ea typeface="Roboto Condensed Light"/>
                <a:cs typeface="Roboto Condensed Light"/>
              </a:defRPr>
            </a:lvl2pPr>
            <a:lvl3pPr marL="1143000" indent="-228600" eaLnBrk="0" hangingPunct="0">
              <a:defRPr>
                <a:solidFill>
                  <a:schemeClr val="tx1"/>
                </a:solidFill>
                <a:latin typeface="Arial" panose="020B0604020202020204" pitchFamily="34" charset="0"/>
                <a:ea typeface="Roboto Condensed Light"/>
                <a:cs typeface="Roboto Condensed Light"/>
              </a:defRPr>
            </a:lvl3pPr>
            <a:lvl4pPr marL="1600200" indent="-228600" eaLnBrk="0" hangingPunct="0">
              <a:defRPr>
                <a:solidFill>
                  <a:schemeClr val="tx1"/>
                </a:solidFill>
                <a:latin typeface="Arial" panose="020B0604020202020204" pitchFamily="34" charset="0"/>
                <a:ea typeface="Roboto Condensed Light"/>
                <a:cs typeface="Roboto Condensed Light"/>
              </a:defRPr>
            </a:lvl4pPr>
            <a:lvl5pPr marL="2057400" indent="-228600" eaLnBrk="0" hangingPunct="0">
              <a:defRPr>
                <a:solidFill>
                  <a:schemeClr val="tx1"/>
                </a:solidFill>
                <a:latin typeface="Arial" panose="020B0604020202020204" pitchFamily="34" charset="0"/>
                <a:ea typeface="Roboto Condensed Light"/>
                <a:cs typeface="Roboto Condensed Light"/>
              </a:defRPr>
            </a:lvl5pPr>
            <a:lvl6pPr marL="25146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6pPr>
            <a:lvl7pPr marL="29718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7pPr>
            <a:lvl8pPr marL="34290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8pPr>
            <a:lvl9pPr marL="38862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9pPr>
          </a:lstStyle>
          <a:p>
            <a:pPr algn="ctr" eaLnBrk="1" latinLnBrk="1" hangingPunct="1">
              <a:defRPr/>
            </a:pPr>
            <a:fld id="{501044F4-D272-43BE-97DE-FC5F341D7A1E}" type="slidenum">
              <a:rPr lang="ko-KR" altLang="en-US" sz="675" b="1" smtClean="0">
                <a:solidFill>
                  <a:srgbClr val="FFFFFF"/>
                </a:solidFill>
                <a:latin typeface="Roboto Condensed Regular"/>
              </a:rPr>
            </a:fld>
            <a:endParaRPr lang="ko-KR" altLang="en-US" sz="675" b="1">
              <a:solidFill>
                <a:srgbClr val="FFFFFF"/>
              </a:solidFill>
              <a:latin typeface="Roboto Condensed Regular"/>
            </a:endParaRPr>
          </a:p>
        </p:txBody>
      </p:sp>
      <p:cxnSp>
        <p:nvCxnSpPr>
          <p:cNvPr id="63" name="직선 연결선 58"/>
          <p:cNvCxnSpPr/>
          <p:nvPr userDrawn="1"/>
        </p:nvCxnSpPr>
        <p:spPr>
          <a:xfrm>
            <a:off x="720969" y="2294335"/>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직선 연결선 59"/>
          <p:cNvCxnSpPr/>
          <p:nvPr userDrawn="1"/>
        </p:nvCxnSpPr>
        <p:spPr>
          <a:xfrm>
            <a:off x="1843454" y="2294335"/>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직선 연결선 60"/>
          <p:cNvCxnSpPr/>
          <p:nvPr userDrawn="1"/>
        </p:nvCxnSpPr>
        <p:spPr>
          <a:xfrm>
            <a:off x="2968869" y="2294335"/>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직선 연결선 61"/>
          <p:cNvCxnSpPr/>
          <p:nvPr userDrawn="1"/>
        </p:nvCxnSpPr>
        <p:spPr>
          <a:xfrm>
            <a:off x="4091354" y="2294335"/>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 name="직선 연결선 62"/>
          <p:cNvCxnSpPr/>
          <p:nvPr userDrawn="1"/>
        </p:nvCxnSpPr>
        <p:spPr>
          <a:xfrm>
            <a:off x="5213839" y="2294335"/>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직선 연결선 63"/>
          <p:cNvCxnSpPr/>
          <p:nvPr userDrawn="1"/>
        </p:nvCxnSpPr>
        <p:spPr>
          <a:xfrm>
            <a:off x="6336323" y="2294335"/>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직선 연결선 64"/>
          <p:cNvCxnSpPr/>
          <p:nvPr userDrawn="1"/>
        </p:nvCxnSpPr>
        <p:spPr>
          <a:xfrm>
            <a:off x="7458808" y="2294335"/>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0" name="직선 연결선 65"/>
          <p:cNvCxnSpPr/>
          <p:nvPr userDrawn="1"/>
        </p:nvCxnSpPr>
        <p:spPr>
          <a:xfrm>
            <a:off x="720969"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 name="직선 연결선 66"/>
          <p:cNvCxnSpPr/>
          <p:nvPr userDrawn="1"/>
        </p:nvCxnSpPr>
        <p:spPr>
          <a:xfrm>
            <a:off x="1843454"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 name="직선 연결선 67"/>
          <p:cNvCxnSpPr/>
          <p:nvPr userDrawn="1"/>
        </p:nvCxnSpPr>
        <p:spPr>
          <a:xfrm>
            <a:off x="2968869"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 name="직선 연결선 68"/>
          <p:cNvCxnSpPr/>
          <p:nvPr userDrawn="1"/>
        </p:nvCxnSpPr>
        <p:spPr>
          <a:xfrm>
            <a:off x="4091354"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 name="직선 연결선 69"/>
          <p:cNvCxnSpPr/>
          <p:nvPr userDrawn="1"/>
        </p:nvCxnSpPr>
        <p:spPr>
          <a:xfrm>
            <a:off x="5213839"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5" name="직선 연결선 70"/>
          <p:cNvCxnSpPr/>
          <p:nvPr userDrawn="1"/>
        </p:nvCxnSpPr>
        <p:spPr>
          <a:xfrm>
            <a:off x="6336323"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6" name="직선 연결선 71"/>
          <p:cNvCxnSpPr/>
          <p:nvPr userDrawn="1"/>
        </p:nvCxnSpPr>
        <p:spPr>
          <a:xfrm>
            <a:off x="7458808"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
        <p:nvSpPr>
          <p:cNvPr id="4" name="그림 개체 틀 7"/>
          <p:cNvSpPr>
            <a:spLocks noGrp="1"/>
          </p:cNvSpPr>
          <p:nvPr>
            <p:ph type="pic" sz="quarter" idx="10"/>
          </p:nvPr>
        </p:nvSpPr>
        <p:spPr>
          <a:xfrm>
            <a:off x="720725" y="881063"/>
            <a:ext cx="972000" cy="972000"/>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42" name="텍스트 개체 틀 32"/>
          <p:cNvSpPr>
            <a:spLocks noGrp="1"/>
          </p:cNvSpPr>
          <p:nvPr>
            <p:ph type="body" sz="quarter" idx="15"/>
          </p:nvPr>
        </p:nvSpPr>
        <p:spPr>
          <a:xfrm>
            <a:off x="720725" y="2096144"/>
            <a:ext cx="975298"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44" name="텍스트 개체 틀 30"/>
          <p:cNvSpPr>
            <a:spLocks noGrp="1"/>
          </p:cNvSpPr>
          <p:nvPr>
            <p:ph type="body" sz="quarter" idx="14"/>
          </p:nvPr>
        </p:nvSpPr>
        <p:spPr>
          <a:xfrm>
            <a:off x="720725" y="1923600"/>
            <a:ext cx="975298"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45" name="텍스트 개체 틀 34"/>
          <p:cNvSpPr>
            <a:spLocks noGrp="1"/>
          </p:cNvSpPr>
          <p:nvPr>
            <p:ph type="body" sz="quarter" idx="16"/>
          </p:nvPr>
        </p:nvSpPr>
        <p:spPr>
          <a:xfrm>
            <a:off x="720725" y="2361163"/>
            <a:ext cx="975298"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27" name="그림 개체 틀 7"/>
          <p:cNvSpPr>
            <a:spLocks noGrp="1"/>
          </p:cNvSpPr>
          <p:nvPr>
            <p:ph type="pic" sz="quarter" idx="17"/>
          </p:nvPr>
        </p:nvSpPr>
        <p:spPr>
          <a:xfrm>
            <a:off x="1843087" y="881063"/>
            <a:ext cx="972000" cy="972000"/>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28" name="텍스트 개체 틀 32"/>
          <p:cNvSpPr>
            <a:spLocks noGrp="1"/>
          </p:cNvSpPr>
          <p:nvPr>
            <p:ph type="body" sz="quarter" idx="18"/>
          </p:nvPr>
        </p:nvSpPr>
        <p:spPr>
          <a:xfrm>
            <a:off x="1843088" y="2096144"/>
            <a:ext cx="975298"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30" name="텍스트 개체 틀 30"/>
          <p:cNvSpPr>
            <a:spLocks noGrp="1"/>
          </p:cNvSpPr>
          <p:nvPr>
            <p:ph type="body" sz="quarter" idx="19"/>
          </p:nvPr>
        </p:nvSpPr>
        <p:spPr>
          <a:xfrm>
            <a:off x="1843088" y="1923600"/>
            <a:ext cx="975298"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31" name="텍스트 개체 틀 34"/>
          <p:cNvSpPr>
            <a:spLocks noGrp="1"/>
          </p:cNvSpPr>
          <p:nvPr>
            <p:ph type="body" sz="quarter" idx="20"/>
          </p:nvPr>
        </p:nvSpPr>
        <p:spPr>
          <a:xfrm>
            <a:off x="1843088" y="2361163"/>
            <a:ext cx="975298"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32" name="그림 개체 틀 7"/>
          <p:cNvSpPr>
            <a:spLocks noGrp="1"/>
          </p:cNvSpPr>
          <p:nvPr>
            <p:ph type="pic" sz="quarter" idx="21"/>
          </p:nvPr>
        </p:nvSpPr>
        <p:spPr>
          <a:xfrm>
            <a:off x="2968747" y="881063"/>
            <a:ext cx="972000" cy="972000"/>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33" name="텍스트 개체 틀 32"/>
          <p:cNvSpPr>
            <a:spLocks noGrp="1"/>
          </p:cNvSpPr>
          <p:nvPr>
            <p:ph type="body" sz="quarter" idx="22"/>
          </p:nvPr>
        </p:nvSpPr>
        <p:spPr>
          <a:xfrm>
            <a:off x="2968747" y="2096144"/>
            <a:ext cx="975298"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35" name="텍스트 개체 틀 30"/>
          <p:cNvSpPr>
            <a:spLocks noGrp="1"/>
          </p:cNvSpPr>
          <p:nvPr>
            <p:ph type="body" sz="quarter" idx="23"/>
          </p:nvPr>
        </p:nvSpPr>
        <p:spPr>
          <a:xfrm>
            <a:off x="2968747" y="1923600"/>
            <a:ext cx="975298"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36" name="텍스트 개체 틀 34"/>
          <p:cNvSpPr>
            <a:spLocks noGrp="1"/>
          </p:cNvSpPr>
          <p:nvPr>
            <p:ph type="body" sz="quarter" idx="24"/>
          </p:nvPr>
        </p:nvSpPr>
        <p:spPr>
          <a:xfrm>
            <a:off x="2968747" y="2361163"/>
            <a:ext cx="975298"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37" name="그림 개체 틀 7"/>
          <p:cNvSpPr>
            <a:spLocks noGrp="1"/>
          </p:cNvSpPr>
          <p:nvPr>
            <p:ph type="pic" sz="quarter" idx="25"/>
          </p:nvPr>
        </p:nvSpPr>
        <p:spPr>
          <a:xfrm>
            <a:off x="4091109" y="881063"/>
            <a:ext cx="972000" cy="972000"/>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38" name="텍스트 개체 틀 32"/>
          <p:cNvSpPr>
            <a:spLocks noGrp="1"/>
          </p:cNvSpPr>
          <p:nvPr>
            <p:ph type="body" sz="quarter" idx="26"/>
          </p:nvPr>
        </p:nvSpPr>
        <p:spPr>
          <a:xfrm>
            <a:off x="4091110" y="2096144"/>
            <a:ext cx="975298"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40" name="텍스트 개체 틀 30"/>
          <p:cNvSpPr>
            <a:spLocks noGrp="1"/>
          </p:cNvSpPr>
          <p:nvPr>
            <p:ph type="body" sz="quarter" idx="27"/>
          </p:nvPr>
        </p:nvSpPr>
        <p:spPr>
          <a:xfrm>
            <a:off x="4091110" y="1923600"/>
            <a:ext cx="975298"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41" name="텍스트 개체 틀 34"/>
          <p:cNvSpPr>
            <a:spLocks noGrp="1"/>
          </p:cNvSpPr>
          <p:nvPr>
            <p:ph type="body" sz="quarter" idx="28"/>
          </p:nvPr>
        </p:nvSpPr>
        <p:spPr>
          <a:xfrm>
            <a:off x="4091110" y="2361163"/>
            <a:ext cx="975298"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42" name="그림 개체 틀 7"/>
          <p:cNvSpPr>
            <a:spLocks noGrp="1"/>
          </p:cNvSpPr>
          <p:nvPr>
            <p:ph type="pic" sz="quarter" idx="29"/>
          </p:nvPr>
        </p:nvSpPr>
        <p:spPr>
          <a:xfrm>
            <a:off x="5213472" y="881063"/>
            <a:ext cx="972000" cy="972000"/>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43" name="텍스트 개체 틀 32"/>
          <p:cNvSpPr>
            <a:spLocks noGrp="1"/>
          </p:cNvSpPr>
          <p:nvPr>
            <p:ph type="body" sz="quarter" idx="30"/>
          </p:nvPr>
        </p:nvSpPr>
        <p:spPr>
          <a:xfrm>
            <a:off x="5213473" y="2096144"/>
            <a:ext cx="975298"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45" name="텍스트 개체 틀 30"/>
          <p:cNvSpPr>
            <a:spLocks noGrp="1"/>
          </p:cNvSpPr>
          <p:nvPr>
            <p:ph type="body" sz="quarter" idx="31"/>
          </p:nvPr>
        </p:nvSpPr>
        <p:spPr>
          <a:xfrm>
            <a:off x="5213473" y="1923600"/>
            <a:ext cx="975298"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46" name="텍스트 개체 틀 34"/>
          <p:cNvSpPr>
            <a:spLocks noGrp="1"/>
          </p:cNvSpPr>
          <p:nvPr>
            <p:ph type="body" sz="quarter" idx="32"/>
          </p:nvPr>
        </p:nvSpPr>
        <p:spPr>
          <a:xfrm>
            <a:off x="5213473" y="2361163"/>
            <a:ext cx="975298"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47" name="그림 개체 틀 7"/>
          <p:cNvSpPr>
            <a:spLocks noGrp="1"/>
          </p:cNvSpPr>
          <p:nvPr>
            <p:ph type="pic" sz="quarter" idx="33"/>
          </p:nvPr>
        </p:nvSpPr>
        <p:spPr>
          <a:xfrm>
            <a:off x="6335835" y="881063"/>
            <a:ext cx="972000" cy="972000"/>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48" name="텍스트 개체 틀 32"/>
          <p:cNvSpPr>
            <a:spLocks noGrp="1"/>
          </p:cNvSpPr>
          <p:nvPr>
            <p:ph type="body" sz="quarter" idx="34"/>
          </p:nvPr>
        </p:nvSpPr>
        <p:spPr>
          <a:xfrm>
            <a:off x="6335835" y="2096144"/>
            <a:ext cx="975298"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0" name="텍스트 개체 틀 30"/>
          <p:cNvSpPr>
            <a:spLocks noGrp="1"/>
          </p:cNvSpPr>
          <p:nvPr>
            <p:ph type="body" sz="quarter" idx="35"/>
          </p:nvPr>
        </p:nvSpPr>
        <p:spPr>
          <a:xfrm>
            <a:off x="6335835" y="1923600"/>
            <a:ext cx="975298"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51" name="텍스트 개체 틀 34"/>
          <p:cNvSpPr>
            <a:spLocks noGrp="1"/>
          </p:cNvSpPr>
          <p:nvPr>
            <p:ph type="body" sz="quarter" idx="36"/>
          </p:nvPr>
        </p:nvSpPr>
        <p:spPr>
          <a:xfrm>
            <a:off x="6335835" y="2361163"/>
            <a:ext cx="975298"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52" name="그림 개체 틀 7"/>
          <p:cNvSpPr>
            <a:spLocks noGrp="1"/>
          </p:cNvSpPr>
          <p:nvPr>
            <p:ph type="pic" sz="quarter" idx="37"/>
          </p:nvPr>
        </p:nvSpPr>
        <p:spPr>
          <a:xfrm>
            <a:off x="7458198" y="881063"/>
            <a:ext cx="972000" cy="972000"/>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53" name="텍스트 개체 틀 32"/>
          <p:cNvSpPr>
            <a:spLocks noGrp="1"/>
          </p:cNvSpPr>
          <p:nvPr>
            <p:ph type="body" sz="quarter" idx="38"/>
          </p:nvPr>
        </p:nvSpPr>
        <p:spPr>
          <a:xfrm>
            <a:off x="7458198" y="2096144"/>
            <a:ext cx="975298"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5" name="텍스트 개체 틀 30"/>
          <p:cNvSpPr>
            <a:spLocks noGrp="1"/>
          </p:cNvSpPr>
          <p:nvPr>
            <p:ph type="body" sz="quarter" idx="39"/>
          </p:nvPr>
        </p:nvSpPr>
        <p:spPr>
          <a:xfrm>
            <a:off x="7458198" y="1923600"/>
            <a:ext cx="975298"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56" name="텍스트 개체 틀 34"/>
          <p:cNvSpPr>
            <a:spLocks noGrp="1"/>
          </p:cNvSpPr>
          <p:nvPr>
            <p:ph type="body" sz="quarter" idx="40"/>
          </p:nvPr>
        </p:nvSpPr>
        <p:spPr>
          <a:xfrm>
            <a:off x="7458198" y="2361163"/>
            <a:ext cx="975298"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57" name="그림 개체 틀 7"/>
          <p:cNvSpPr>
            <a:spLocks noGrp="1"/>
          </p:cNvSpPr>
          <p:nvPr>
            <p:ph type="pic" sz="quarter" idx="41"/>
          </p:nvPr>
        </p:nvSpPr>
        <p:spPr>
          <a:xfrm>
            <a:off x="720725" y="2859694"/>
            <a:ext cx="972000" cy="972000"/>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58" name="텍스트 개체 틀 32"/>
          <p:cNvSpPr>
            <a:spLocks noGrp="1"/>
          </p:cNvSpPr>
          <p:nvPr>
            <p:ph type="body" sz="quarter" idx="42"/>
          </p:nvPr>
        </p:nvSpPr>
        <p:spPr>
          <a:xfrm>
            <a:off x="720725" y="4074775"/>
            <a:ext cx="975298"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60" name="텍스트 개체 틀 30"/>
          <p:cNvSpPr>
            <a:spLocks noGrp="1"/>
          </p:cNvSpPr>
          <p:nvPr>
            <p:ph type="body" sz="quarter" idx="43"/>
          </p:nvPr>
        </p:nvSpPr>
        <p:spPr>
          <a:xfrm>
            <a:off x="720725" y="3902231"/>
            <a:ext cx="975298"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61" name="텍스트 개체 틀 34"/>
          <p:cNvSpPr>
            <a:spLocks noGrp="1"/>
          </p:cNvSpPr>
          <p:nvPr>
            <p:ph type="body" sz="quarter" idx="44"/>
          </p:nvPr>
        </p:nvSpPr>
        <p:spPr>
          <a:xfrm>
            <a:off x="720725" y="4339795"/>
            <a:ext cx="975298"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62" name="그림 개체 틀 7"/>
          <p:cNvSpPr>
            <a:spLocks noGrp="1"/>
          </p:cNvSpPr>
          <p:nvPr>
            <p:ph type="pic" sz="quarter" idx="45"/>
          </p:nvPr>
        </p:nvSpPr>
        <p:spPr>
          <a:xfrm>
            <a:off x="1843087" y="2859694"/>
            <a:ext cx="972000" cy="972000"/>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63" name="텍스트 개체 틀 32"/>
          <p:cNvSpPr>
            <a:spLocks noGrp="1"/>
          </p:cNvSpPr>
          <p:nvPr>
            <p:ph type="body" sz="quarter" idx="46"/>
          </p:nvPr>
        </p:nvSpPr>
        <p:spPr>
          <a:xfrm>
            <a:off x="1843088" y="4074775"/>
            <a:ext cx="975298"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65" name="텍스트 개체 틀 30"/>
          <p:cNvSpPr>
            <a:spLocks noGrp="1"/>
          </p:cNvSpPr>
          <p:nvPr>
            <p:ph type="body" sz="quarter" idx="47"/>
          </p:nvPr>
        </p:nvSpPr>
        <p:spPr>
          <a:xfrm>
            <a:off x="1843088" y="3902231"/>
            <a:ext cx="975298"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66" name="텍스트 개체 틀 34"/>
          <p:cNvSpPr>
            <a:spLocks noGrp="1"/>
          </p:cNvSpPr>
          <p:nvPr>
            <p:ph type="body" sz="quarter" idx="48"/>
          </p:nvPr>
        </p:nvSpPr>
        <p:spPr>
          <a:xfrm>
            <a:off x="1843088" y="4339795"/>
            <a:ext cx="975298"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67" name="그림 개체 틀 7"/>
          <p:cNvSpPr>
            <a:spLocks noGrp="1"/>
          </p:cNvSpPr>
          <p:nvPr>
            <p:ph type="pic" sz="quarter" idx="49"/>
          </p:nvPr>
        </p:nvSpPr>
        <p:spPr>
          <a:xfrm>
            <a:off x="2968747" y="2859694"/>
            <a:ext cx="972000" cy="972000"/>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68" name="텍스트 개체 틀 32"/>
          <p:cNvSpPr>
            <a:spLocks noGrp="1"/>
          </p:cNvSpPr>
          <p:nvPr>
            <p:ph type="body" sz="quarter" idx="50"/>
          </p:nvPr>
        </p:nvSpPr>
        <p:spPr>
          <a:xfrm>
            <a:off x="2968747" y="4074775"/>
            <a:ext cx="975298"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70" name="텍스트 개체 틀 30"/>
          <p:cNvSpPr>
            <a:spLocks noGrp="1"/>
          </p:cNvSpPr>
          <p:nvPr>
            <p:ph type="body" sz="quarter" idx="51"/>
          </p:nvPr>
        </p:nvSpPr>
        <p:spPr>
          <a:xfrm>
            <a:off x="2968747" y="3902231"/>
            <a:ext cx="975298"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71" name="텍스트 개체 틀 34"/>
          <p:cNvSpPr>
            <a:spLocks noGrp="1"/>
          </p:cNvSpPr>
          <p:nvPr>
            <p:ph type="body" sz="quarter" idx="52"/>
          </p:nvPr>
        </p:nvSpPr>
        <p:spPr>
          <a:xfrm>
            <a:off x="2968747" y="4339795"/>
            <a:ext cx="975298"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72" name="그림 개체 틀 7"/>
          <p:cNvSpPr>
            <a:spLocks noGrp="1"/>
          </p:cNvSpPr>
          <p:nvPr>
            <p:ph type="pic" sz="quarter" idx="53"/>
          </p:nvPr>
        </p:nvSpPr>
        <p:spPr>
          <a:xfrm>
            <a:off x="4091109" y="2859694"/>
            <a:ext cx="972000" cy="972000"/>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73" name="텍스트 개체 틀 32"/>
          <p:cNvSpPr>
            <a:spLocks noGrp="1"/>
          </p:cNvSpPr>
          <p:nvPr>
            <p:ph type="body" sz="quarter" idx="54"/>
          </p:nvPr>
        </p:nvSpPr>
        <p:spPr>
          <a:xfrm>
            <a:off x="4091110" y="4074775"/>
            <a:ext cx="975298"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75" name="텍스트 개체 틀 30"/>
          <p:cNvSpPr>
            <a:spLocks noGrp="1"/>
          </p:cNvSpPr>
          <p:nvPr>
            <p:ph type="body" sz="quarter" idx="55"/>
          </p:nvPr>
        </p:nvSpPr>
        <p:spPr>
          <a:xfrm>
            <a:off x="4091110" y="3902231"/>
            <a:ext cx="975298"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76" name="텍스트 개체 틀 34"/>
          <p:cNvSpPr>
            <a:spLocks noGrp="1"/>
          </p:cNvSpPr>
          <p:nvPr>
            <p:ph type="body" sz="quarter" idx="56"/>
          </p:nvPr>
        </p:nvSpPr>
        <p:spPr>
          <a:xfrm>
            <a:off x="4091110" y="4339795"/>
            <a:ext cx="975298"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77" name="그림 개체 틀 7"/>
          <p:cNvSpPr>
            <a:spLocks noGrp="1"/>
          </p:cNvSpPr>
          <p:nvPr>
            <p:ph type="pic" sz="quarter" idx="57"/>
          </p:nvPr>
        </p:nvSpPr>
        <p:spPr>
          <a:xfrm>
            <a:off x="5213472" y="2859694"/>
            <a:ext cx="972000" cy="972000"/>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78" name="텍스트 개체 틀 32"/>
          <p:cNvSpPr>
            <a:spLocks noGrp="1"/>
          </p:cNvSpPr>
          <p:nvPr>
            <p:ph type="body" sz="quarter" idx="58"/>
          </p:nvPr>
        </p:nvSpPr>
        <p:spPr>
          <a:xfrm>
            <a:off x="5213473" y="4074775"/>
            <a:ext cx="975298"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80" name="텍스트 개체 틀 30"/>
          <p:cNvSpPr>
            <a:spLocks noGrp="1"/>
          </p:cNvSpPr>
          <p:nvPr>
            <p:ph type="body" sz="quarter" idx="59"/>
          </p:nvPr>
        </p:nvSpPr>
        <p:spPr>
          <a:xfrm>
            <a:off x="5213473" y="3902231"/>
            <a:ext cx="975298"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81" name="텍스트 개체 틀 34"/>
          <p:cNvSpPr>
            <a:spLocks noGrp="1"/>
          </p:cNvSpPr>
          <p:nvPr>
            <p:ph type="body" sz="quarter" idx="60"/>
          </p:nvPr>
        </p:nvSpPr>
        <p:spPr>
          <a:xfrm>
            <a:off x="5213473" y="4339795"/>
            <a:ext cx="975298"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82" name="그림 개체 틀 7"/>
          <p:cNvSpPr>
            <a:spLocks noGrp="1"/>
          </p:cNvSpPr>
          <p:nvPr>
            <p:ph type="pic" sz="quarter" idx="61"/>
          </p:nvPr>
        </p:nvSpPr>
        <p:spPr>
          <a:xfrm>
            <a:off x="6335835" y="2859694"/>
            <a:ext cx="972000" cy="972000"/>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83" name="텍스트 개체 틀 32"/>
          <p:cNvSpPr>
            <a:spLocks noGrp="1"/>
          </p:cNvSpPr>
          <p:nvPr>
            <p:ph type="body" sz="quarter" idx="62"/>
          </p:nvPr>
        </p:nvSpPr>
        <p:spPr>
          <a:xfrm>
            <a:off x="6335835" y="4074775"/>
            <a:ext cx="975298"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85" name="텍스트 개체 틀 30"/>
          <p:cNvSpPr>
            <a:spLocks noGrp="1"/>
          </p:cNvSpPr>
          <p:nvPr>
            <p:ph type="body" sz="quarter" idx="63"/>
          </p:nvPr>
        </p:nvSpPr>
        <p:spPr>
          <a:xfrm>
            <a:off x="6335835" y="3902231"/>
            <a:ext cx="975298"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86" name="텍스트 개체 틀 34"/>
          <p:cNvSpPr>
            <a:spLocks noGrp="1"/>
          </p:cNvSpPr>
          <p:nvPr>
            <p:ph type="body" sz="quarter" idx="64"/>
          </p:nvPr>
        </p:nvSpPr>
        <p:spPr>
          <a:xfrm>
            <a:off x="6335835" y="4339795"/>
            <a:ext cx="975298"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87" name="그림 개체 틀 7"/>
          <p:cNvSpPr>
            <a:spLocks noGrp="1"/>
          </p:cNvSpPr>
          <p:nvPr>
            <p:ph type="pic" sz="quarter" idx="65"/>
          </p:nvPr>
        </p:nvSpPr>
        <p:spPr>
          <a:xfrm>
            <a:off x="7458198" y="2859694"/>
            <a:ext cx="972000" cy="972000"/>
          </a:xfrm>
          <a:custGeom>
            <a:avLst/>
            <a:gdLst>
              <a:gd name="connsiteX0" fmla="*/ 0 w 1763712"/>
              <a:gd name="connsiteY0" fmla="*/ 0 h 1872000"/>
              <a:gd name="connsiteX1" fmla="*/ 1763712 w 1763712"/>
              <a:gd name="connsiteY1" fmla="*/ 0 h 1872000"/>
              <a:gd name="connsiteX2" fmla="*/ 1763712 w 1763712"/>
              <a:gd name="connsiteY2" fmla="*/ 1872000 h 1872000"/>
              <a:gd name="connsiteX3" fmla="*/ 0 w 1763712"/>
              <a:gd name="connsiteY3" fmla="*/ 1872000 h 1872000"/>
              <a:gd name="connsiteX4" fmla="*/ 0 w 1763712"/>
              <a:gd name="connsiteY4" fmla="*/ 0 h 1872000"/>
              <a:gd name="connsiteX0-1" fmla="*/ 0 w 1763712"/>
              <a:gd name="connsiteY0-2" fmla="*/ 0 h 1872801"/>
              <a:gd name="connsiteX1-3" fmla="*/ 1763712 w 1763712"/>
              <a:gd name="connsiteY1-4" fmla="*/ 0 h 1872801"/>
              <a:gd name="connsiteX2-5" fmla="*/ 1763712 w 1763712"/>
              <a:gd name="connsiteY2-6" fmla="*/ 1872000 h 1872801"/>
              <a:gd name="connsiteX3-7" fmla="*/ 1534308 w 1763712"/>
              <a:gd name="connsiteY3-8" fmla="*/ 1872801 h 1872801"/>
              <a:gd name="connsiteX4-9" fmla="*/ 0 w 1763712"/>
              <a:gd name="connsiteY4-10" fmla="*/ 1872000 h 1872801"/>
              <a:gd name="connsiteX5" fmla="*/ 0 w 1763712"/>
              <a:gd name="connsiteY5" fmla="*/ 0 h 1872801"/>
              <a:gd name="connsiteX0-11" fmla="*/ 0 w 1763712"/>
              <a:gd name="connsiteY0-12" fmla="*/ 0 h 1872801"/>
              <a:gd name="connsiteX1-13" fmla="*/ 1763712 w 1763712"/>
              <a:gd name="connsiteY1-14" fmla="*/ 0 h 1872801"/>
              <a:gd name="connsiteX2-15" fmla="*/ 1760176 w 1763712"/>
              <a:gd name="connsiteY2-16" fmla="*/ 1661505 h 1872801"/>
              <a:gd name="connsiteX3-17" fmla="*/ 1763712 w 1763712"/>
              <a:gd name="connsiteY3-18" fmla="*/ 1872000 h 1872801"/>
              <a:gd name="connsiteX4-19" fmla="*/ 1534308 w 1763712"/>
              <a:gd name="connsiteY4-20" fmla="*/ 1872801 h 1872801"/>
              <a:gd name="connsiteX5-21" fmla="*/ 0 w 1763712"/>
              <a:gd name="connsiteY5-22" fmla="*/ 1872000 h 1872801"/>
              <a:gd name="connsiteX6" fmla="*/ 0 w 1763712"/>
              <a:gd name="connsiteY6" fmla="*/ 0 h 1872801"/>
              <a:gd name="connsiteX0-23" fmla="*/ 0 w 1763712"/>
              <a:gd name="connsiteY0-24" fmla="*/ 0 h 1873230"/>
              <a:gd name="connsiteX1-25" fmla="*/ 1763712 w 1763712"/>
              <a:gd name="connsiteY1-26" fmla="*/ 0 h 1873230"/>
              <a:gd name="connsiteX2-27" fmla="*/ 1760176 w 1763712"/>
              <a:gd name="connsiteY2-28" fmla="*/ 1661505 h 1873230"/>
              <a:gd name="connsiteX3-29" fmla="*/ 1534308 w 1763712"/>
              <a:gd name="connsiteY3-30" fmla="*/ 1872801 h 1873230"/>
              <a:gd name="connsiteX4-31" fmla="*/ 0 w 1763712"/>
              <a:gd name="connsiteY4-32" fmla="*/ 1872000 h 1873230"/>
              <a:gd name="connsiteX5-33" fmla="*/ 0 w 1763712"/>
              <a:gd name="connsiteY5-34" fmla="*/ 0 h 1873230"/>
              <a:gd name="connsiteX0-35" fmla="*/ 0 w 1763712"/>
              <a:gd name="connsiteY0-36" fmla="*/ 0 h 1872801"/>
              <a:gd name="connsiteX1-37" fmla="*/ 1763712 w 1763712"/>
              <a:gd name="connsiteY1-38" fmla="*/ 0 h 1872801"/>
              <a:gd name="connsiteX2-39" fmla="*/ 1760176 w 1763712"/>
              <a:gd name="connsiteY2-40" fmla="*/ 1661505 h 1872801"/>
              <a:gd name="connsiteX3-41" fmla="*/ 1534308 w 1763712"/>
              <a:gd name="connsiteY3-42" fmla="*/ 1872801 h 1872801"/>
              <a:gd name="connsiteX4-43" fmla="*/ 0 w 1763712"/>
              <a:gd name="connsiteY4-44" fmla="*/ 1872000 h 1872801"/>
              <a:gd name="connsiteX5-45" fmla="*/ 0 w 1763712"/>
              <a:gd name="connsiteY5-46" fmla="*/ 0 h 18728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763712" h="1872801">
                <a:moveTo>
                  <a:pt x="0" y="0"/>
                </a:moveTo>
                <a:lnTo>
                  <a:pt x="1763712" y="0"/>
                </a:lnTo>
                <a:cubicBezTo>
                  <a:pt x="1762533" y="553835"/>
                  <a:pt x="1761355" y="1107670"/>
                  <a:pt x="1760176" y="1661505"/>
                </a:cubicBezTo>
                <a:lnTo>
                  <a:pt x="1534308" y="1872801"/>
                </a:lnTo>
                <a:lnTo>
                  <a:pt x="0" y="1872000"/>
                </a:lnTo>
                <a:lnTo>
                  <a:pt x="0" y="0"/>
                </a:lnTo>
                <a:close/>
              </a:path>
            </a:pathLst>
          </a:cu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88" name="텍스트 개체 틀 32"/>
          <p:cNvSpPr>
            <a:spLocks noGrp="1"/>
          </p:cNvSpPr>
          <p:nvPr>
            <p:ph type="body" sz="quarter" idx="66"/>
          </p:nvPr>
        </p:nvSpPr>
        <p:spPr>
          <a:xfrm>
            <a:off x="7458198" y="4074775"/>
            <a:ext cx="975298"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90" name="텍스트 개체 틀 30"/>
          <p:cNvSpPr>
            <a:spLocks noGrp="1"/>
          </p:cNvSpPr>
          <p:nvPr>
            <p:ph type="body" sz="quarter" idx="67"/>
          </p:nvPr>
        </p:nvSpPr>
        <p:spPr>
          <a:xfrm>
            <a:off x="7458198" y="3902231"/>
            <a:ext cx="975298"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91" name="텍스트 개체 틀 34"/>
          <p:cNvSpPr>
            <a:spLocks noGrp="1"/>
          </p:cNvSpPr>
          <p:nvPr>
            <p:ph type="body" sz="quarter" idx="68"/>
          </p:nvPr>
        </p:nvSpPr>
        <p:spPr>
          <a:xfrm>
            <a:off x="7458198" y="4339795"/>
            <a:ext cx="975298"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Members : type 2">
    <p:spTree>
      <p:nvGrpSpPr>
        <p:cNvPr id="1" name=""/>
        <p:cNvGrpSpPr/>
        <p:nvPr/>
      </p:nvGrpSpPr>
      <p:grpSpPr>
        <a:xfrm>
          <a:off x="0" y="0"/>
          <a:ext cx="0" cy="0"/>
          <a:chOff x="0" y="0"/>
          <a:chExt cx="0" cy="0"/>
        </a:xfrm>
      </p:grpSpPr>
      <p:graphicFrame>
        <p:nvGraphicFramePr>
          <p:cNvPr id="59" name="Object 289"/>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
                  <p:embed/>
                </p:oleObj>
              </mc:Choice>
              <mc:Fallback>
                <p:oleObj name="think-cell Slide" r:id="rId3" imgW="12700" imgH="12700" progId="">
                  <p:embed/>
                  <p:pic>
                    <p:nvPicPr>
                      <p:cNvPr id="0" name="Object 28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Oval 8"/>
          <p:cNvSpPr/>
          <p:nvPr userDrawn="1"/>
        </p:nvSpPr>
        <p:spPr>
          <a:xfrm flipH="1">
            <a:off x="8244254" y="4866085"/>
            <a:ext cx="211015" cy="171450"/>
          </a:xfrm>
          <a:prstGeom prst="ellipse">
            <a:avLst/>
          </a:prstGeom>
          <a:solidFill>
            <a:schemeClr val="tx2">
              <a:alpha val="25000"/>
            </a:schemeClr>
          </a:solidFill>
          <a:ln>
            <a:noFill/>
          </a:ln>
        </p:spPr>
        <p:style>
          <a:lnRef idx="2">
            <a:schemeClr val="dk1"/>
          </a:lnRef>
          <a:fillRef idx="1">
            <a:schemeClr val="lt1"/>
          </a:fillRef>
          <a:effectRef idx="0">
            <a:schemeClr val="dk1"/>
          </a:effectRef>
          <a:fontRef idx="minor">
            <a:schemeClr val="dk1"/>
          </a:fontRef>
        </p:style>
        <p:txBody>
          <a:bodyPr lIns="0" tIns="0" rIns="0" bIns="8100" anchor="ctr"/>
          <a:lstStyle/>
          <a:p>
            <a:pPr algn="ctr" eaLnBrk="1" fontAlgn="auto" latinLnBrk="1" hangingPunct="1">
              <a:spcBef>
                <a:spcPts val="0"/>
              </a:spcBef>
              <a:spcAft>
                <a:spcPts val="0"/>
              </a:spcAft>
              <a:defRPr/>
            </a:pPr>
            <a:endParaRPr lang="en-US" sz="675" dirty="0">
              <a:gradFill flip="none" rotWithShape="1">
                <a:gsLst>
                  <a:gs pos="0">
                    <a:srgbClr val="FFFFFF"/>
                  </a:gs>
                  <a:gs pos="100000">
                    <a:srgbClr val="FFFFFF"/>
                  </a:gs>
                </a:gsLst>
                <a:lin ang="0" scaled="1"/>
                <a:tileRect/>
              </a:gradFill>
              <a:latin typeface="Bebas Neue"/>
            </a:endParaRPr>
          </a:p>
        </p:txBody>
      </p:sp>
      <p:cxnSp>
        <p:nvCxnSpPr>
          <p:cNvPr id="61" name="직선 연결선 25"/>
          <p:cNvCxnSpPr/>
          <p:nvPr/>
        </p:nvCxnSpPr>
        <p:spPr>
          <a:xfrm>
            <a:off x="720969" y="742950"/>
            <a:ext cx="3238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2" name="슬라이드 번호 개체 틀 4"/>
          <p:cNvSpPr txBox="1"/>
          <p:nvPr/>
        </p:nvSpPr>
        <p:spPr>
          <a:xfrm>
            <a:off x="8127024" y="4867275"/>
            <a:ext cx="413238" cy="179785"/>
          </a:xfrm>
          <a:prstGeom prst="rect">
            <a:avLst/>
          </a:prstGeom>
        </p:spPr>
        <p:txBody>
          <a:bodyPr tIns="0" bIns="0" anchor="ctr"/>
          <a:lstStyle>
            <a:lvl1pPr eaLnBrk="0" hangingPunct="0">
              <a:defRPr>
                <a:solidFill>
                  <a:schemeClr val="tx1"/>
                </a:solidFill>
                <a:latin typeface="Arial" panose="020B0604020202020204" pitchFamily="34" charset="0"/>
                <a:ea typeface="Roboto Condensed Light"/>
                <a:cs typeface="Roboto Condensed Light"/>
              </a:defRPr>
            </a:lvl1pPr>
            <a:lvl2pPr marL="742950" indent="-285750" eaLnBrk="0" hangingPunct="0">
              <a:defRPr>
                <a:solidFill>
                  <a:schemeClr val="tx1"/>
                </a:solidFill>
                <a:latin typeface="Arial" panose="020B0604020202020204" pitchFamily="34" charset="0"/>
                <a:ea typeface="Roboto Condensed Light"/>
                <a:cs typeface="Roboto Condensed Light"/>
              </a:defRPr>
            </a:lvl2pPr>
            <a:lvl3pPr marL="1143000" indent="-228600" eaLnBrk="0" hangingPunct="0">
              <a:defRPr>
                <a:solidFill>
                  <a:schemeClr val="tx1"/>
                </a:solidFill>
                <a:latin typeface="Arial" panose="020B0604020202020204" pitchFamily="34" charset="0"/>
                <a:ea typeface="Roboto Condensed Light"/>
                <a:cs typeface="Roboto Condensed Light"/>
              </a:defRPr>
            </a:lvl3pPr>
            <a:lvl4pPr marL="1600200" indent="-228600" eaLnBrk="0" hangingPunct="0">
              <a:defRPr>
                <a:solidFill>
                  <a:schemeClr val="tx1"/>
                </a:solidFill>
                <a:latin typeface="Arial" panose="020B0604020202020204" pitchFamily="34" charset="0"/>
                <a:ea typeface="Roboto Condensed Light"/>
                <a:cs typeface="Roboto Condensed Light"/>
              </a:defRPr>
            </a:lvl4pPr>
            <a:lvl5pPr marL="2057400" indent="-228600" eaLnBrk="0" hangingPunct="0">
              <a:defRPr>
                <a:solidFill>
                  <a:schemeClr val="tx1"/>
                </a:solidFill>
                <a:latin typeface="Arial" panose="020B0604020202020204" pitchFamily="34" charset="0"/>
                <a:ea typeface="Roboto Condensed Light"/>
                <a:cs typeface="Roboto Condensed Light"/>
              </a:defRPr>
            </a:lvl5pPr>
            <a:lvl6pPr marL="25146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6pPr>
            <a:lvl7pPr marL="29718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7pPr>
            <a:lvl8pPr marL="34290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8pPr>
            <a:lvl9pPr marL="38862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9pPr>
          </a:lstStyle>
          <a:p>
            <a:pPr algn="ctr" eaLnBrk="1" latinLnBrk="1" hangingPunct="1">
              <a:defRPr/>
            </a:pPr>
            <a:fld id="{6D716054-78C1-4614-8F4D-33F4DBC2BCB2}" type="slidenum">
              <a:rPr lang="ko-KR" altLang="en-US" sz="675" b="1" smtClean="0">
                <a:solidFill>
                  <a:srgbClr val="FFFFFF"/>
                </a:solidFill>
                <a:latin typeface="Roboto Condensed Regular"/>
              </a:rPr>
            </a:fld>
            <a:endParaRPr lang="ko-KR" altLang="en-US" sz="675" b="1">
              <a:solidFill>
                <a:srgbClr val="FFFFFF"/>
              </a:solidFill>
              <a:latin typeface="Roboto Condensed Regular"/>
            </a:endParaRPr>
          </a:p>
        </p:txBody>
      </p:sp>
      <p:cxnSp>
        <p:nvCxnSpPr>
          <p:cNvPr id="63" name="직선 연결선 79"/>
          <p:cNvCxnSpPr/>
          <p:nvPr userDrawn="1"/>
        </p:nvCxnSpPr>
        <p:spPr>
          <a:xfrm>
            <a:off x="720969" y="2315766"/>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직선 연결선 80"/>
          <p:cNvCxnSpPr/>
          <p:nvPr userDrawn="1"/>
        </p:nvCxnSpPr>
        <p:spPr>
          <a:xfrm>
            <a:off x="1843454" y="2315766"/>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직선 연결선 81"/>
          <p:cNvCxnSpPr/>
          <p:nvPr userDrawn="1"/>
        </p:nvCxnSpPr>
        <p:spPr>
          <a:xfrm>
            <a:off x="2968869" y="2315766"/>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직선 연결선 82"/>
          <p:cNvCxnSpPr/>
          <p:nvPr userDrawn="1"/>
        </p:nvCxnSpPr>
        <p:spPr>
          <a:xfrm>
            <a:off x="4091354" y="2315766"/>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 name="직선 연결선 83"/>
          <p:cNvCxnSpPr/>
          <p:nvPr userDrawn="1"/>
        </p:nvCxnSpPr>
        <p:spPr>
          <a:xfrm>
            <a:off x="5213839" y="2315766"/>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직선 연결선 84"/>
          <p:cNvCxnSpPr/>
          <p:nvPr userDrawn="1"/>
        </p:nvCxnSpPr>
        <p:spPr>
          <a:xfrm>
            <a:off x="6336323" y="2315766"/>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직선 연결선 85"/>
          <p:cNvCxnSpPr/>
          <p:nvPr userDrawn="1"/>
        </p:nvCxnSpPr>
        <p:spPr>
          <a:xfrm>
            <a:off x="7458808" y="2315766"/>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0" name="직선 연결선 86"/>
          <p:cNvCxnSpPr/>
          <p:nvPr userDrawn="1"/>
        </p:nvCxnSpPr>
        <p:spPr>
          <a:xfrm>
            <a:off x="720969"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 name="직선 연결선 87"/>
          <p:cNvCxnSpPr/>
          <p:nvPr userDrawn="1"/>
        </p:nvCxnSpPr>
        <p:spPr>
          <a:xfrm>
            <a:off x="1843454"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 name="직선 연결선 88"/>
          <p:cNvCxnSpPr/>
          <p:nvPr userDrawn="1"/>
        </p:nvCxnSpPr>
        <p:spPr>
          <a:xfrm>
            <a:off x="2968869"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 name="직선 연결선 89"/>
          <p:cNvCxnSpPr/>
          <p:nvPr userDrawn="1"/>
        </p:nvCxnSpPr>
        <p:spPr>
          <a:xfrm>
            <a:off x="4091354"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 name="직선 연결선 90"/>
          <p:cNvCxnSpPr/>
          <p:nvPr userDrawn="1"/>
        </p:nvCxnSpPr>
        <p:spPr>
          <a:xfrm>
            <a:off x="5213839"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5" name="직선 연결선 91"/>
          <p:cNvCxnSpPr/>
          <p:nvPr userDrawn="1"/>
        </p:nvCxnSpPr>
        <p:spPr>
          <a:xfrm>
            <a:off x="6336323"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6" name="직선 연결선 92"/>
          <p:cNvCxnSpPr/>
          <p:nvPr userDrawn="1"/>
        </p:nvCxnSpPr>
        <p:spPr>
          <a:xfrm>
            <a:off x="7458808"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
        <p:nvSpPr>
          <p:cNvPr id="4" name="그림 개체 틀 7"/>
          <p:cNvSpPr>
            <a:spLocks noGrp="1"/>
          </p:cNvSpPr>
          <p:nvPr>
            <p:ph type="pic" sz="quarter" idx="10"/>
          </p:nvPr>
        </p:nvSpPr>
        <p:spPr>
          <a:xfrm>
            <a:off x="720725" y="881063"/>
            <a:ext cx="972000" cy="972000"/>
          </a:xfrm>
          <a:prstGeom prst="ellipse">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75" dirty="0">
                <a:solidFill>
                  <a:schemeClr val="bg1">
                    <a:lumMod val="65000"/>
                  </a:schemeClr>
                </a:solidFill>
              </a:defRPr>
            </a:lvl1pPr>
          </a:lstStyle>
          <a:p>
            <a:pPr lvl="0"/>
            <a:r>
              <a:rPr lang="en-US" altLang="ko-KR" noProof="0"/>
              <a:t>Click icon to add picture</a:t>
            </a:r>
            <a:endParaRPr lang="ko-KR" altLang="en-US" noProof="0" dirty="0"/>
          </a:p>
        </p:txBody>
      </p:sp>
      <p:sp>
        <p:nvSpPr>
          <p:cNvPr id="42" name="텍스트 개체 틀 32"/>
          <p:cNvSpPr>
            <a:spLocks noGrp="1"/>
          </p:cNvSpPr>
          <p:nvPr>
            <p:ph type="body" sz="quarter" idx="15"/>
          </p:nvPr>
        </p:nvSpPr>
        <p:spPr>
          <a:xfrm>
            <a:off x="720725" y="2139008"/>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44" name="텍스트 개체 틀 30"/>
          <p:cNvSpPr>
            <a:spLocks noGrp="1"/>
          </p:cNvSpPr>
          <p:nvPr>
            <p:ph type="body" sz="quarter" idx="14"/>
          </p:nvPr>
        </p:nvSpPr>
        <p:spPr>
          <a:xfrm>
            <a:off x="720725" y="1966464"/>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45" name="텍스트 개체 틀 34"/>
          <p:cNvSpPr>
            <a:spLocks noGrp="1"/>
          </p:cNvSpPr>
          <p:nvPr>
            <p:ph type="body" sz="quarter" idx="16"/>
          </p:nvPr>
        </p:nvSpPr>
        <p:spPr>
          <a:xfrm>
            <a:off x="720725" y="23825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27" name="그림 개체 틀 7"/>
          <p:cNvSpPr>
            <a:spLocks noGrp="1"/>
          </p:cNvSpPr>
          <p:nvPr>
            <p:ph type="pic" sz="quarter" idx="17"/>
          </p:nvPr>
        </p:nvSpPr>
        <p:spPr>
          <a:xfrm>
            <a:off x="1843087" y="881063"/>
            <a:ext cx="972000" cy="972000"/>
          </a:xfrm>
          <a:prstGeom prst="ellipse">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75" dirty="0">
                <a:solidFill>
                  <a:schemeClr val="bg1">
                    <a:lumMod val="65000"/>
                  </a:schemeClr>
                </a:solidFill>
              </a:defRPr>
            </a:lvl1pPr>
          </a:lstStyle>
          <a:p>
            <a:pPr lvl="0"/>
            <a:r>
              <a:rPr lang="en-US" altLang="ko-KR" noProof="0"/>
              <a:t>Click icon to add picture</a:t>
            </a:r>
            <a:endParaRPr lang="ko-KR" altLang="en-US" noProof="0" dirty="0"/>
          </a:p>
        </p:txBody>
      </p:sp>
      <p:sp>
        <p:nvSpPr>
          <p:cNvPr id="128" name="텍스트 개체 틀 32"/>
          <p:cNvSpPr>
            <a:spLocks noGrp="1"/>
          </p:cNvSpPr>
          <p:nvPr>
            <p:ph type="body" sz="quarter" idx="18"/>
          </p:nvPr>
        </p:nvSpPr>
        <p:spPr>
          <a:xfrm>
            <a:off x="1843088" y="2139008"/>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30" name="텍스트 개체 틀 30"/>
          <p:cNvSpPr>
            <a:spLocks noGrp="1"/>
          </p:cNvSpPr>
          <p:nvPr>
            <p:ph type="body" sz="quarter" idx="19"/>
          </p:nvPr>
        </p:nvSpPr>
        <p:spPr>
          <a:xfrm>
            <a:off x="1843088" y="1966464"/>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31" name="텍스트 개체 틀 34"/>
          <p:cNvSpPr>
            <a:spLocks noGrp="1"/>
          </p:cNvSpPr>
          <p:nvPr>
            <p:ph type="body" sz="quarter" idx="20"/>
          </p:nvPr>
        </p:nvSpPr>
        <p:spPr>
          <a:xfrm>
            <a:off x="1843088" y="23825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32" name="그림 개체 틀 7"/>
          <p:cNvSpPr>
            <a:spLocks noGrp="1"/>
          </p:cNvSpPr>
          <p:nvPr>
            <p:ph type="pic" sz="quarter" idx="21"/>
          </p:nvPr>
        </p:nvSpPr>
        <p:spPr>
          <a:xfrm>
            <a:off x="2968747" y="881063"/>
            <a:ext cx="972000" cy="972000"/>
          </a:xfrm>
          <a:prstGeom prst="ellipse">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75" dirty="0">
                <a:solidFill>
                  <a:schemeClr val="bg1">
                    <a:lumMod val="65000"/>
                  </a:schemeClr>
                </a:solidFill>
              </a:defRPr>
            </a:lvl1pPr>
          </a:lstStyle>
          <a:p>
            <a:pPr lvl="0"/>
            <a:r>
              <a:rPr lang="en-US" altLang="ko-KR" noProof="0"/>
              <a:t>Click icon to add picture</a:t>
            </a:r>
            <a:endParaRPr lang="ko-KR" altLang="en-US" noProof="0" dirty="0"/>
          </a:p>
        </p:txBody>
      </p:sp>
      <p:sp>
        <p:nvSpPr>
          <p:cNvPr id="133" name="텍스트 개체 틀 32"/>
          <p:cNvSpPr>
            <a:spLocks noGrp="1"/>
          </p:cNvSpPr>
          <p:nvPr>
            <p:ph type="body" sz="quarter" idx="22"/>
          </p:nvPr>
        </p:nvSpPr>
        <p:spPr>
          <a:xfrm>
            <a:off x="2968747" y="2139008"/>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35" name="텍스트 개체 틀 30"/>
          <p:cNvSpPr>
            <a:spLocks noGrp="1"/>
          </p:cNvSpPr>
          <p:nvPr>
            <p:ph type="body" sz="quarter" idx="23"/>
          </p:nvPr>
        </p:nvSpPr>
        <p:spPr>
          <a:xfrm>
            <a:off x="2968747" y="1966464"/>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36" name="텍스트 개체 틀 34"/>
          <p:cNvSpPr>
            <a:spLocks noGrp="1"/>
          </p:cNvSpPr>
          <p:nvPr>
            <p:ph type="body" sz="quarter" idx="24"/>
          </p:nvPr>
        </p:nvSpPr>
        <p:spPr>
          <a:xfrm>
            <a:off x="2968747" y="23825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37" name="그림 개체 틀 7"/>
          <p:cNvSpPr>
            <a:spLocks noGrp="1"/>
          </p:cNvSpPr>
          <p:nvPr>
            <p:ph type="pic" sz="quarter" idx="25"/>
          </p:nvPr>
        </p:nvSpPr>
        <p:spPr>
          <a:xfrm>
            <a:off x="4091109" y="881063"/>
            <a:ext cx="972000" cy="972000"/>
          </a:xfrm>
          <a:prstGeom prst="ellipse">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75" dirty="0">
                <a:solidFill>
                  <a:schemeClr val="bg1">
                    <a:lumMod val="65000"/>
                  </a:schemeClr>
                </a:solidFill>
              </a:defRPr>
            </a:lvl1pPr>
          </a:lstStyle>
          <a:p>
            <a:pPr lvl="0"/>
            <a:r>
              <a:rPr lang="en-US" altLang="ko-KR" noProof="0"/>
              <a:t>Click icon to add picture</a:t>
            </a:r>
            <a:endParaRPr lang="ko-KR" altLang="en-US" noProof="0" dirty="0"/>
          </a:p>
        </p:txBody>
      </p:sp>
      <p:sp>
        <p:nvSpPr>
          <p:cNvPr id="138" name="텍스트 개체 틀 32"/>
          <p:cNvSpPr>
            <a:spLocks noGrp="1"/>
          </p:cNvSpPr>
          <p:nvPr>
            <p:ph type="body" sz="quarter" idx="26"/>
          </p:nvPr>
        </p:nvSpPr>
        <p:spPr>
          <a:xfrm>
            <a:off x="4091110" y="2139008"/>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40" name="텍스트 개체 틀 30"/>
          <p:cNvSpPr>
            <a:spLocks noGrp="1"/>
          </p:cNvSpPr>
          <p:nvPr>
            <p:ph type="body" sz="quarter" idx="27"/>
          </p:nvPr>
        </p:nvSpPr>
        <p:spPr>
          <a:xfrm>
            <a:off x="4091110" y="1966464"/>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41" name="텍스트 개체 틀 34"/>
          <p:cNvSpPr>
            <a:spLocks noGrp="1"/>
          </p:cNvSpPr>
          <p:nvPr>
            <p:ph type="body" sz="quarter" idx="28"/>
          </p:nvPr>
        </p:nvSpPr>
        <p:spPr>
          <a:xfrm>
            <a:off x="4091110" y="23825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42" name="그림 개체 틀 7"/>
          <p:cNvSpPr>
            <a:spLocks noGrp="1"/>
          </p:cNvSpPr>
          <p:nvPr>
            <p:ph type="pic" sz="quarter" idx="29"/>
          </p:nvPr>
        </p:nvSpPr>
        <p:spPr>
          <a:xfrm>
            <a:off x="5213472" y="881063"/>
            <a:ext cx="972000" cy="972000"/>
          </a:xfrm>
          <a:prstGeom prst="ellipse">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75" dirty="0">
                <a:solidFill>
                  <a:schemeClr val="bg1">
                    <a:lumMod val="65000"/>
                  </a:schemeClr>
                </a:solidFill>
              </a:defRPr>
            </a:lvl1pPr>
          </a:lstStyle>
          <a:p>
            <a:pPr lvl="0"/>
            <a:r>
              <a:rPr lang="en-US" altLang="ko-KR" noProof="0"/>
              <a:t>Click icon to add picture</a:t>
            </a:r>
            <a:endParaRPr lang="ko-KR" altLang="en-US" noProof="0" dirty="0"/>
          </a:p>
        </p:txBody>
      </p:sp>
      <p:sp>
        <p:nvSpPr>
          <p:cNvPr id="143" name="텍스트 개체 틀 32"/>
          <p:cNvSpPr>
            <a:spLocks noGrp="1"/>
          </p:cNvSpPr>
          <p:nvPr>
            <p:ph type="body" sz="quarter" idx="30"/>
          </p:nvPr>
        </p:nvSpPr>
        <p:spPr>
          <a:xfrm>
            <a:off x="5213473" y="2139008"/>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45" name="텍스트 개체 틀 30"/>
          <p:cNvSpPr>
            <a:spLocks noGrp="1"/>
          </p:cNvSpPr>
          <p:nvPr>
            <p:ph type="body" sz="quarter" idx="31"/>
          </p:nvPr>
        </p:nvSpPr>
        <p:spPr>
          <a:xfrm>
            <a:off x="5213473" y="1966464"/>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46" name="텍스트 개체 틀 34"/>
          <p:cNvSpPr>
            <a:spLocks noGrp="1"/>
          </p:cNvSpPr>
          <p:nvPr>
            <p:ph type="body" sz="quarter" idx="32"/>
          </p:nvPr>
        </p:nvSpPr>
        <p:spPr>
          <a:xfrm>
            <a:off x="5213473" y="23825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47" name="그림 개체 틀 7"/>
          <p:cNvSpPr>
            <a:spLocks noGrp="1"/>
          </p:cNvSpPr>
          <p:nvPr>
            <p:ph type="pic" sz="quarter" idx="33"/>
          </p:nvPr>
        </p:nvSpPr>
        <p:spPr>
          <a:xfrm>
            <a:off x="6335835" y="881063"/>
            <a:ext cx="972000" cy="972000"/>
          </a:xfrm>
          <a:prstGeom prst="ellipse">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75" dirty="0">
                <a:solidFill>
                  <a:schemeClr val="bg1">
                    <a:lumMod val="65000"/>
                  </a:schemeClr>
                </a:solidFill>
              </a:defRPr>
            </a:lvl1pPr>
          </a:lstStyle>
          <a:p>
            <a:pPr lvl="0"/>
            <a:r>
              <a:rPr lang="en-US" altLang="ko-KR" noProof="0"/>
              <a:t>Click icon to add picture</a:t>
            </a:r>
            <a:endParaRPr lang="ko-KR" altLang="en-US" noProof="0" dirty="0"/>
          </a:p>
        </p:txBody>
      </p:sp>
      <p:sp>
        <p:nvSpPr>
          <p:cNvPr id="148" name="텍스트 개체 틀 32"/>
          <p:cNvSpPr>
            <a:spLocks noGrp="1"/>
          </p:cNvSpPr>
          <p:nvPr>
            <p:ph type="body" sz="quarter" idx="34"/>
          </p:nvPr>
        </p:nvSpPr>
        <p:spPr>
          <a:xfrm>
            <a:off x="6335835" y="2139008"/>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0" name="텍스트 개체 틀 30"/>
          <p:cNvSpPr>
            <a:spLocks noGrp="1"/>
          </p:cNvSpPr>
          <p:nvPr>
            <p:ph type="body" sz="quarter" idx="35"/>
          </p:nvPr>
        </p:nvSpPr>
        <p:spPr>
          <a:xfrm>
            <a:off x="6335835" y="1966464"/>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51" name="텍스트 개체 틀 34"/>
          <p:cNvSpPr>
            <a:spLocks noGrp="1"/>
          </p:cNvSpPr>
          <p:nvPr>
            <p:ph type="body" sz="quarter" idx="36"/>
          </p:nvPr>
        </p:nvSpPr>
        <p:spPr>
          <a:xfrm>
            <a:off x="6335835" y="23825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52" name="그림 개체 틀 7"/>
          <p:cNvSpPr>
            <a:spLocks noGrp="1"/>
          </p:cNvSpPr>
          <p:nvPr>
            <p:ph type="pic" sz="quarter" idx="37"/>
          </p:nvPr>
        </p:nvSpPr>
        <p:spPr>
          <a:xfrm>
            <a:off x="7458198" y="881063"/>
            <a:ext cx="972000" cy="972000"/>
          </a:xfrm>
          <a:prstGeom prst="ellipse">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75" dirty="0">
                <a:solidFill>
                  <a:schemeClr val="bg1">
                    <a:lumMod val="65000"/>
                  </a:schemeClr>
                </a:solidFill>
              </a:defRPr>
            </a:lvl1pPr>
          </a:lstStyle>
          <a:p>
            <a:pPr lvl="0"/>
            <a:r>
              <a:rPr lang="en-US" altLang="ko-KR" noProof="0"/>
              <a:t>Click icon to add picture</a:t>
            </a:r>
            <a:endParaRPr lang="ko-KR" altLang="en-US" noProof="0" dirty="0"/>
          </a:p>
        </p:txBody>
      </p:sp>
      <p:sp>
        <p:nvSpPr>
          <p:cNvPr id="153" name="텍스트 개체 틀 32"/>
          <p:cNvSpPr>
            <a:spLocks noGrp="1"/>
          </p:cNvSpPr>
          <p:nvPr>
            <p:ph type="body" sz="quarter" idx="38"/>
          </p:nvPr>
        </p:nvSpPr>
        <p:spPr>
          <a:xfrm>
            <a:off x="7458198" y="2139008"/>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5" name="텍스트 개체 틀 30"/>
          <p:cNvSpPr>
            <a:spLocks noGrp="1"/>
          </p:cNvSpPr>
          <p:nvPr>
            <p:ph type="body" sz="quarter" idx="39"/>
          </p:nvPr>
        </p:nvSpPr>
        <p:spPr>
          <a:xfrm>
            <a:off x="7458198" y="1966464"/>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56" name="텍스트 개체 틀 34"/>
          <p:cNvSpPr>
            <a:spLocks noGrp="1"/>
          </p:cNvSpPr>
          <p:nvPr>
            <p:ph type="body" sz="quarter" idx="40"/>
          </p:nvPr>
        </p:nvSpPr>
        <p:spPr>
          <a:xfrm>
            <a:off x="7458198" y="23825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57" name="그림 개체 틀 7"/>
          <p:cNvSpPr>
            <a:spLocks noGrp="1"/>
          </p:cNvSpPr>
          <p:nvPr>
            <p:ph type="pic" sz="quarter" idx="41"/>
          </p:nvPr>
        </p:nvSpPr>
        <p:spPr>
          <a:xfrm>
            <a:off x="720725" y="2838262"/>
            <a:ext cx="972000" cy="972000"/>
          </a:xfrm>
          <a:prstGeom prst="ellipse">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75" dirty="0">
                <a:solidFill>
                  <a:schemeClr val="bg1">
                    <a:lumMod val="65000"/>
                  </a:schemeClr>
                </a:solidFill>
              </a:defRPr>
            </a:lvl1pPr>
          </a:lstStyle>
          <a:p>
            <a:pPr lvl="0"/>
            <a:r>
              <a:rPr lang="en-US" altLang="ko-KR" noProof="0"/>
              <a:t>Click icon to add picture</a:t>
            </a:r>
            <a:endParaRPr lang="ko-KR" altLang="en-US" noProof="0" dirty="0"/>
          </a:p>
        </p:txBody>
      </p:sp>
      <p:sp>
        <p:nvSpPr>
          <p:cNvPr id="158" name="텍스트 개체 틀 32"/>
          <p:cNvSpPr>
            <a:spLocks noGrp="1"/>
          </p:cNvSpPr>
          <p:nvPr>
            <p:ph type="body" sz="quarter" idx="42"/>
          </p:nvPr>
        </p:nvSpPr>
        <p:spPr>
          <a:xfrm>
            <a:off x="720725" y="4096207"/>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60" name="텍스트 개체 틀 30"/>
          <p:cNvSpPr>
            <a:spLocks noGrp="1"/>
          </p:cNvSpPr>
          <p:nvPr>
            <p:ph type="body" sz="quarter" idx="43"/>
          </p:nvPr>
        </p:nvSpPr>
        <p:spPr>
          <a:xfrm>
            <a:off x="720725" y="3923663"/>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61" name="텍스트 개체 틀 34"/>
          <p:cNvSpPr>
            <a:spLocks noGrp="1"/>
          </p:cNvSpPr>
          <p:nvPr>
            <p:ph type="body" sz="quarter" idx="44"/>
          </p:nvPr>
        </p:nvSpPr>
        <p:spPr>
          <a:xfrm>
            <a:off x="720725" y="43397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62" name="그림 개체 틀 7"/>
          <p:cNvSpPr>
            <a:spLocks noGrp="1"/>
          </p:cNvSpPr>
          <p:nvPr>
            <p:ph type="pic" sz="quarter" idx="45"/>
          </p:nvPr>
        </p:nvSpPr>
        <p:spPr>
          <a:xfrm>
            <a:off x="1843087" y="2838262"/>
            <a:ext cx="972000" cy="972000"/>
          </a:xfrm>
          <a:prstGeom prst="ellipse">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75" dirty="0">
                <a:solidFill>
                  <a:schemeClr val="bg1">
                    <a:lumMod val="65000"/>
                  </a:schemeClr>
                </a:solidFill>
              </a:defRPr>
            </a:lvl1pPr>
          </a:lstStyle>
          <a:p>
            <a:pPr lvl="0"/>
            <a:r>
              <a:rPr lang="en-US" altLang="ko-KR" noProof="0"/>
              <a:t>Click icon to add picture</a:t>
            </a:r>
            <a:endParaRPr lang="ko-KR" altLang="en-US" noProof="0" dirty="0"/>
          </a:p>
        </p:txBody>
      </p:sp>
      <p:sp>
        <p:nvSpPr>
          <p:cNvPr id="163" name="텍스트 개체 틀 32"/>
          <p:cNvSpPr>
            <a:spLocks noGrp="1"/>
          </p:cNvSpPr>
          <p:nvPr>
            <p:ph type="body" sz="quarter" idx="46"/>
          </p:nvPr>
        </p:nvSpPr>
        <p:spPr>
          <a:xfrm>
            <a:off x="1843088" y="4096207"/>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65" name="텍스트 개체 틀 30"/>
          <p:cNvSpPr>
            <a:spLocks noGrp="1"/>
          </p:cNvSpPr>
          <p:nvPr>
            <p:ph type="body" sz="quarter" idx="47"/>
          </p:nvPr>
        </p:nvSpPr>
        <p:spPr>
          <a:xfrm>
            <a:off x="1843088" y="3923663"/>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66" name="텍스트 개체 틀 34"/>
          <p:cNvSpPr>
            <a:spLocks noGrp="1"/>
          </p:cNvSpPr>
          <p:nvPr>
            <p:ph type="body" sz="quarter" idx="48"/>
          </p:nvPr>
        </p:nvSpPr>
        <p:spPr>
          <a:xfrm>
            <a:off x="1843088" y="43397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67" name="그림 개체 틀 7"/>
          <p:cNvSpPr>
            <a:spLocks noGrp="1"/>
          </p:cNvSpPr>
          <p:nvPr>
            <p:ph type="pic" sz="quarter" idx="49"/>
          </p:nvPr>
        </p:nvSpPr>
        <p:spPr>
          <a:xfrm>
            <a:off x="2968747" y="2838262"/>
            <a:ext cx="972000" cy="972000"/>
          </a:xfrm>
          <a:prstGeom prst="ellipse">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75" dirty="0">
                <a:solidFill>
                  <a:schemeClr val="bg1">
                    <a:lumMod val="65000"/>
                  </a:schemeClr>
                </a:solidFill>
              </a:defRPr>
            </a:lvl1pPr>
          </a:lstStyle>
          <a:p>
            <a:pPr lvl="0"/>
            <a:r>
              <a:rPr lang="en-US" altLang="ko-KR" noProof="0"/>
              <a:t>Click icon to add picture</a:t>
            </a:r>
            <a:endParaRPr lang="ko-KR" altLang="en-US" noProof="0" dirty="0"/>
          </a:p>
        </p:txBody>
      </p:sp>
      <p:sp>
        <p:nvSpPr>
          <p:cNvPr id="168" name="텍스트 개체 틀 32"/>
          <p:cNvSpPr>
            <a:spLocks noGrp="1"/>
          </p:cNvSpPr>
          <p:nvPr>
            <p:ph type="body" sz="quarter" idx="50"/>
          </p:nvPr>
        </p:nvSpPr>
        <p:spPr>
          <a:xfrm>
            <a:off x="2968747" y="4096207"/>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70" name="텍스트 개체 틀 30"/>
          <p:cNvSpPr>
            <a:spLocks noGrp="1"/>
          </p:cNvSpPr>
          <p:nvPr>
            <p:ph type="body" sz="quarter" idx="51"/>
          </p:nvPr>
        </p:nvSpPr>
        <p:spPr>
          <a:xfrm>
            <a:off x="2968747" y="3923663"/>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71" name="텍스트 개체 틀 34"/>
          <p:cNvSpPr>
            <a:spLocks noGrp="1"/>
          </p:cNvSpPr>
          <p:nvPr>
            <p:ph type="body" sz="quarter" idx="52"/>
          </p:nvPr>
        </p:nvSpPr>
        <p:spPr>
          <a:xfrm>
            <a:off x="2968747" y="43397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72" name="그림 개체 틀 7"/>
          <p:cNvSpPr>
            <a:spLocks noGrp="1"/>
          </p:cNvSpPr>
          <p:nvPr>
            <p:ph type="pic" sz="quarter" idx="53"/>
          </p:nvPr>
        </p:nvSpPr>
        <p:spPr>
          <a:xfrm>
            <a:off x="4091109" y="2838262"/>
            <a:ext cx="972000" cy="972000"/>
          </a:xfrm>
          <a:prstGeom prst="ellipse">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75" dirty="0">
                <a:solidFill>
                  <a:schemeClr val="bg1">
                    <a:lumMod val="65000"/>
                  </a:schemeClr>
                </a:solidFill>
              </a:defRPr>
            </a:lvl1pPr>
          </a:lstStyle>
          <a:p>
            <a:pPr lvl="0"/>
            <a:r>
              <a:rPr lang="en-US" altLang="ko-KR" noProof="0"/>
              <a:t>Click icon to add picture</a:t>
            </a:r>
            <a:endParaRPr lang="ko-KR" altLang="en-US" noProof="0" dirty="0"/>
          </a:p>
        </p:txBody>
      </p:sp>
      <p:sp>
        <p:nvSpPr>
          <p:cNvPr id="173" name="텍스트 개체 틀 32"/>
          <p:cNvSpPr>
            <a:spLocks noGrp="1"/>
          </p:cNvSpPr>
          <p:nvPr>
            <p:ph type="body" sz="quarter" idx="54"/>
          </p:nvPr>
        </p:nvSpPr>
        <p:spPr>
          <a:xfrm>
            <a:off x="4091110" y="4096207"/>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75" name="텍스트 개체 틀 30"/>
          <p:cNvSpPr>
            <a:spLocks noGrp="1"/>
          </p:cNvSpPr>
          <p:nvPr>
            <p:ph type="body" sz="quarter" idx="55"/>
          </p:nvPr>
        </p:nvSpPr>
        <p:spPr>
          <a:xfrm>
            <a:off x="4091110" y="3923663"/>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76" name="텍스트 개체 틀 34"/>
          <p:cNvSpPr>
            <a:spLocks noGrp="1"/>
          </p:cNvSpPr>
          <p:nvPr>
            <p:ph type="body" sz="quarter" idx="56"/>
          </p:nvPr>
        </p:nvSpPr>
        <p:spPr>
          <a:xfrm>
            <a:off x="4091110" y="43397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77" name="그림 개체 틀 7"/>
          <p:cNvSpPr>
            <a:spLocks noGrp="1"/>
          </p:cNvSpPr>
          <p:nvPr>
            <p:ph type="pic" sz="quarter" idx="57"/>
          </p:nvPr>
        </p:nvSpPr>
        <p:spPr>
          <a:xfrm>
            <a:off x="5213472" y="2838262"/>
            <a:ext cx="972000" cy="972000"/>
          </a:xfrm>
          <a:prstGeom prst="ellipse">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75" dirty="0">
                <a:solidFill>
                  <a:schemeClr val="bg1">
                    <a:lumMod val="65000"/>
                  </a:schemeClr>
                </a:solidFill>
              </a:defRPr>
            </a:lvl1pPr>
          </a:lstStyle>
          <a:p>
            <a:pPr lvl="0"/>
            <a:r>
              <a:rPr lang="en-US" altLang="ko-KR" noProof="0"/>
              <a:t>Click icon to add picture</a:t>
            </a:r>
            <a:endParaRPr lang="ko-KR" altLang="en-US" noProof="0" dirty="0"/>
          </a:p>
        </p:txBody>
      </p:sp>
      <p:sp>
        <p:nvSpPr>
          <p:cNvPr id="178" name="텍스트 개체 틀 32"/>
          <p:cNvSpPr>
            <a:spLocks noGrp="1"/>
          </p:cNvSpPr>
          <p:nvPr>
            <p:ph type="body" sz="quarter" idx="58"/>
          </p:nvPr>
        </p:nvSpPr>
        <p:spPr>
          <a:xfrm>
            <a:off x="5213473" y="4096207"/>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80" name="텍스트 개체 틀 30"/>
          <p:cNvSpPr>
            <a:spLocks noGrp="1"/>
          </p:cNvSpPr>
          <p:nvPr>
            <p:ph type="body" sz="quarter" idx="59"/>
          </p:nvPr>
        </p:nvSpPr>
        <p:spPr>
          <a:xfrm>
            <a:off x="5213473" y="3923663"/>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81" name="텍스트 개체 틀 34"/>
          <p:cNvSpPr>
            <a:spLocks noGrp="1"/>
          </p:cNvSpPr>
          <p:nvPr>
            <p:ph type="body" sz="quarter" idx="60"/>
          </p:nvPr>
        </p:nvSpPr>
        <p:spPr>
          <a:xfrm>
            <a:off x="5213473" y="43397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82" name="그림 개체 틀 7"/>
          <p:cNvSpPr>
            <a:spLocks noGrp="1"/>
          </p:cNvSpPr>
          <p:nvPr>
            <p:ph type="pic" sz="quarter" idx="61"/>
          </p:nvPr>
        </p:nvSpPr>
        <p:spPr>
          <a:xfrm>
            <a:off x="6335835" y="2838262"/>
            <a:ext cx="972000" cy="972000"/>
          </a:xfrm>
          <a:prstGeom prst="ellipse">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75" dirty="0">
                <a:solidFill>
                  <a:schemeClr val="bg1">
                    <a:lumMod val="65000"/>
                  </a:schemeClr>
                </a:solidFill>
              </a:defRPr>
            </a:lvl1pPr>
          </a:lstStyle>
          <a:p>
            <a:pPr lvl="0"/>
            <a:r>
              <a:rPr lang="en-US" altLang="ko-KR" noProof="0"/>
              <a:t>Click icon to add picture</a:t>
            </a:r>
            <a:endParaRPr lang="ko-KR" altLang="en-US" noProof="0" dirty="0"/>
          </a:p>
        </p:txBody>
      </p:sp>
      <p:sp>
        <p:nvSpPr>
          <p:cNvPr id="183" name="텍스트 개체 틀 32"/>
          <p:cNvSpPr>
            <a:spLocks noGrp="1"/>
          </p:cNvSpPr>
          <p:nvPr>
            <p:ph type="body" sz="quarter" idx="62"/>
          </p:nvPr>
        </p:nvSpPr>
        <p:spPr>
          <a:xfrm>
            <a:off x="6335835" y="4096207"/>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85" name="텍스트 개체 틀 30"/>
          <p:cNvSpPr>
            <a:spLocks noGrp="1"/>
          </p:cNvSpPr>
          <p:nvPr>
            <p:ph type="body" sz="quarter" idx="63"/>
          </p:nvPr>
        </p:nvSpPr>
        <p:spPr>
          <a:xfrm>
            <a:off x="6335835" y="3923663"/>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86" name="텍스트 개체 틀 34"/>
          <p:cNvSpPr>
            <a:spLocks noGrp="1"/>
          </p:cNvSpPr>
          <p:nvPr>
            <p:ph type="body" sz="quarter" idx="64"/>
          </p:nvPr>
        </p:nvSpPr>
        <p:spPr>
          <a:xfrm>
            <a:off x="6335835" y="43397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87" name="그림 개체 틀 7"/>
          <p:cNvSpPr>
            <a:spLocks noGrp="1"/>
          </p:cNvSpPr>
          <p:nvPr>
            <p:ph type="pic" sz="quarter" idx="65"/>
          </p:nvPr>
        </p:nvSpPr>
        <p:spPr>
          <a:xfrm>
            <a:off x="7458198" y="2838262"/>
            <a:ext cx="972000" cy="972000"/>
          </a:xfrm>
          <a:prstGeom prst="ellipse">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75" dirty="0">
                <a:solidFill>
                  <a:schemeClr val="bg1">
                    <a:lumMod val="65000"/>
                  </a:schemeClr>
                </a:solidFill>
              </a:defRPr>
            </a:lvl1pPr>
          </a:lstStyle>
          <a:p>
            <a:pPr lvl="0"/>
            <a:r>
              <a:rPr lang="en-US" altLang="ko-KR" noProof="0"/>
              <a:t>Click icon to add picture</a:t>
            </a:r>
            <a:endParaRPr lang="ko-KR" altLang="en-US" noProof="0" dirty="0"/>
          </a:p>
        </p:txBody>
      </p:sp>
      <p:sp>
        <p:nvSpPr>
          <p:cNvPr id="188" name="텍스트 개체 틀 32"/>
          <p:cNvSpPr>
            <a:spLocks noGrp="1"/>
          </p:cNvSpPr>
          <p:nvPr>
            <p:ph type="body" sz="quarter" idx="66"/>
          </p:nvPr>
        </p:nvSpPr>
        <p:spPr>
          <a:xfrm>
            <a:off x="7458198" y="4096207"/>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90" name="텍스트 개체 틀 30"/>
          <p:cNvSpPr>
            <a:spLocks noGrp="1"/>
          </p:cNvSpPr>
          <p:nvPr>
            <p:ph type="body" sz="quarter" idx="67"/>
          </p:nvPr>
        </p:nvSpPr>
        <p:spPr>
          <a:xfrm>
            <a:off x="7458198" y="3923663"/>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91" name="텍스트 개체 틀 34"/>
          <p:cNvSpPr>
            <a:spLocks noGrp="1"/>
          </p:cNvSpPr>
          <p:nvPr>
            <p:ph type="body" sz="quarter" idx="68"/>
          </p:nvPr>
        </p:nvSpPr>
        <p:spPr>
          <a:xfrm>
            <a:off x="7458198" y="43397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Members : type 3">
    <p:spTree>
      <p:nvGrpSpPr>
        <p:cNvPr id="1" name=""/>
        <p:cNvGrpSpPr/>
        <p:nvPr/>
      </p:nvGrpSpPr>
      <p:grpSpPr>
        <a:xfrm>
          <a:off x="0" y="0"/>
          <a:ext cx="0" cy="0"/>
          <a:chOff x="0" y="0"/>
          <a:chExt cx="0" cy="0"/>
        </a:xfrm>
      </p:grpSpPr>
      <p:graphicFrame>
        <p:nvGraphicFramePr>
          <p:cNvPr id="59" name="Object 289"/>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
                  <p:embed/>
                </p:oleObj>
              </mc:Choice>
              <mc:Fallback>
                <p:oleObj name="think-cell Slide" r:id="rId3" imgW="12700" imgH="12700" progId="">
                  <p:embed/>
                  <p:pic>
                    <p:nvPicPr>
                      <p:cNvPr id="0" name="Object 28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Oval 8"/>
          <p:cNvSpPr/>
          <p:nvPr userDrawn="1"/>
        </p:nvSpPr>
        <p:spPr>
          <a:xfrm flipH="1">
            <a:off x="8244254" y="4866085"/>
            <a:ext cx="211015" cy="171450"/>
          </a:xfrm>
          <a:prstGeom prst="ellipse">
            <a:avLst/>
          </a:prstGeom>
          <a:solidFill>
            <a:schemeClr val="tx2">
              <a:alpha val="25000"/>
            </a:schemeClr>
          </a:solidFill>
          <a:ln>
            <a:noFill/>
          </a:ln>
        </p:spPr>
        <p:style>
          <a:lnRef idx="2">
            <a:schemeClr val="dk1"/>
          </a:lnRef>
          <a:fillRef idx="1">
            <a:schemeClr val="lt1"/>
          </a:fillRef>
          <a:effectRef idx="0">
            <a:schemeClr val="dk1"/>
          </a:effectRef>
          <a:fontRef idx="minor">
            <a:schemeClr val="dk1"/>
          </a:fontRef>
        </p:style>
        <p:txBody>
          <a:bodyPr lIns="0" tIns="0" rIns="0" bIns="8100" anchor="ctr"/>
          <a:lstStyle/>
          <a:p>
            <a:pPr algn="ctr" eaLnBrk="1" fontAlgn="auto" latinLnBrk="1" hangingPunct="1">
              <a:spcBef>
                <a:spcPts val="0"/>
              </a:spcBef>
              <a:spcAft>
                <a:spcPts val="0"/>
              </a:spcAft>
              <a:defRPr/>
            </a:pPr>
            <a:endParaRPr lang="en-US" sz="675" dirty="0">
              <a:gradFill flip="none" rotWithShape="1">
                <a:gsLst>
                  <a:gs pos="0">
                    <a:srgbClr val="FFFFFF"/>
                  </a:gs>
                  <a:gs pos="100000">
                    <a:srgbClr val="FFFFFF"/>
                  </a:gs>
                </a:gsLst>
                <a:lin ang="0" scaled="1"/>
                <a:tileRect/>
              </a:gradFill>
              <a:latin typeface="Bebas Neue"/>
            </a:endParaRPr>
          </a:p>
        </p:txBody>
      </p:sp>
      <p:cxnSp>
        <p:nvCxnSpPr>
          <p:cNvPr id="61" name="직선 연결선 25"/>
          <p:cNvCxnSpPr/>
          <p:nvPr/>
        </p:nvCxnSpPr>
        <p:spPr>
          <a:xfrm>
            <a:off x="720969" y="742950"/>
            <a:ext cx="3238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2" name="슬라이드 번호 개체 틀 4"/>
          <p:cNvSpPr txBox="1"/>
          <p:nvPr/>
        </p:nvSpPr>
        <p:spPr>
          <a:xfrm>
            <a:off x="8127024" y="4867275"/>
            <a:ext cx="413238" cy="179785"/>
          </a:xfrm>
          <a:prstGeom prst="rect">
            <a:avLst/>
          </a:prstGeom>
        </p:spPr>
        <p:txBody>
          <a:bodyPr tIns="0" bIns="0" anchor="ctr"/>
          <a:lstStyle>
            <a:lvl1pPr eaLnBrk="0" hangingPunct="0">
              <a:defRPr>
                <a:solidFill>
                  <a:schemeClr val="tx1"/>
                </a:solidFill>
                <a:latin typeface="Arial" panose="020B0604020202020204" pitchFamily="34" charset="0"/>
                <a:ea typeface="Roboto Condensed Light"/>
                <a:cs typeface="Roboto Condensed Light"/>
              </a:defRPr>
            </a:lvl1pPr>
            <a:lvl2pPr marL="742950" indent="-285750" eaLnBrk="0" hangingPunct="0">
              <a:defRPr>
                <a:solidFill>
                  <a:schemeClr val="tx1"/>
                </a:solidFill>
                <a:latin typeface="Arial" panose="020B0604020202020204" pitchFamily="34" charset="0"/>
                <a:ea typeface="Roboto Condensed Light"/>
                <a:cs typeface="Roboto Condensed Light"/>
              </a:defRPr>
            </a:lvl2pPr>
            <a:lvl3pPr marL="1143000" indent="-228600" eaLnBrk="0" hangingPunct="0">
              <a:defRPr>
                <a:solidFill>
                  <a:schemeClr val="tx1"/>
                </a:solidFill>
                <a:latin typeface="Arial" panose="020B0604020202020204" pitchFamily="34" charset="0"/>
                <a:ea typeface="Roboto Condensed Light"/>
                <a:cs typeface="Roboto Condensed Light"/>
              </a:defRPr>
            </a:lvl3pPr>
            <a:lvl4pPr marL="1600200" indent="-228600" eaLnBrk="0" hangingPunct="0">
              <a:defRPr>
                <a:solidFill>
                  <a:schemeClr val="tx1"/>
                </a:solidFill>
                <a:latin typeface="Arial" panose="020B0604020202020204" pitchFamily="34" charset="0"/>
                <a:ea typeface="Roboto Condensed Light"/>
                <a:cs typeface="Roboto Condensed Light"/>
              </a:defRPr>
            </a:lvl4pPr>
            <a:lvl5pPr marL="2057400" indent="-228600" eaLnBrk="0" hangingPunct="0">
              <a:defRPr>
                <a:solidFill>
                  <a:schemeClr val="tx1"/>
                </a:solidFill>
                <a:latin typeface="Arial" panose="020B0604020202020204" pitchFamily="34" charset="0"/>
                <a:ea typeface="Roboto Condensed Light"/>
                <a:cs typeface="Roboto Condensed Light"/>
              </a:defRPr>
            </a:lvl5pPr>
            <a:lvl6pPr marL="25146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6pPr>
            <a:lvl7pPr marL="29718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7pPr>
            <a:lvl8pPr marL="34290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8pPr>
            <a:lvl9pPr marL="38862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9pPr>
          </a:lstStyle>
          <a:p>
            <a:pPr algn="ctr" eaLnBrk="1" latinLnBrk="1" hangingPunct="1">
              <a:defRPr/>
            </a:pPr>
            <a:fld id="{368C46A9-1EA8-488F-878E-FDDF30016FD6}" type="slidenum">
              <a:rPr lang="ko-KR" altLang="en-US" sz="675" b="1" smtClean="0">
                <a:solidFill>
                  <a:srgbClr val="FFFFFF"/>
                </a:solidFill>
                <a:latin typeface="Roboto Condensed Regular"/>
              </a:rPr>
            </a:fld>
            <a:endParaRPr lang="ko-KR" altLang="en-US" sz="675" b="1">
              <a:solidFill>
                <a:srgbClr val="FFFFFF"/>
              </a:solidFill>
              <a:latin typeface="Roboto Condensed Regular"/>
            </a:endParaRPr>
          </a:p>
        </p:txBody>
      </p:sp>
      <p:cxnSp>
        <p:nvCxnSpPr>
          <p:cNvPr id="63" name="직선 연결선 58"/>
          <p:cNvCxnSpPr/>
          <p:nvPr userDrawn="1"/>
        </p:nvCxnSpPr>
        <p:spPr>
          <a:xfrm>
            <a:off x="1579685" y="1329929"/>
            <a:ext cx="901212"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직선 연결선 59"/>
          <p:cNvCxnSpPr/>
          <p:nvPr userDrawn="1"/>
        </p:nvCxnSpPr>
        <p:spPr>
          <a:xfrm>
            <a:off x="3566747" y="1323975"/>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직선 연결선 60"/>
          <p:cNvCxnSpPr/>
          <p:nvPr userDrawn="1"/>
        </p:nvCxnSpPr>
        <p:spPr>
          <a:xfrm>
            <a:off x="5553808" y="1322785"/>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직선 연결선 61"/>
          <p:cNvCxnSpPr/>
          <p:nvPr userDrawn="1"/>
        </p:nvCxnSpPr>
        <p:spPr>
          <a:xfrm>
            <a:off x="7540870" y="1316831"/>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 name="직선 연결선 62"/>
          <p:cNvCxnSpPr/>
          <p:nvPr userDrawn="1"/>
        </p:nvCxnSpPr>
        <p:spPr>
          <a:xfrm>
            <a:off x="1579685" y="2297906"/>
            <a:ext cx="901212"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직선 연결선 63"/>
          <p:cNvCxnSpPr/>
          <p:nvPr userDrawn="1"/>
        </p:nvCxnSpPr>
        <p:spPr>
          <a:xfrm>
            <a:off x="3566747" y="2297906"/>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직선 연결선 64"/>
          <p:cNvCxnSpPr/>
          <p:nvPr userDrawn="1"/>
        </p:nvCxnSpPr>
        <p:spPr>
          <a:xfrm>
            <a:off x="5553808" y="2297906"/>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0" name="직선 연결선 65"/>
          <p:cNvCxnSpPr/>
          <p:nvPr userDrawn="1"/>
        </p:nvCxnSpPr>
        <p:spPr>
          <a:xfrm>
            <a:off x="7540870" y="2297906"/>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 name="직선 연결선 66"/>
          <p:cNvCxnSpPr/>
          <p:nvPr userDrawn="1"/>
        </p:nvCxnSpPr>
        <p:spPr>
          <a:xfrm>
            <a:off x="1579685" y="3265885"/>
            <a:ext cx="901212"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 name="직선 연결선 67"/>
          <p:cNvCxnSpPr/>
          <p:nvPr userDrawn="1"/>
        </p:nvCxnSpPr>
        <p:spPr>
          <a:xfrm>
            <a:off x="3566747" y="3265885"/>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 name="직선 연결선 68"/>
          <p:cNvCxnSpPr/>
          <p:nvPr userDrawn="1"/>
        </p:nvCxnSpPr>
        <p:spPr>
          <a:xfrm>
            <a:off x="5553808" y="3265885"/>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 name="직선 연결선 69"/>
          <p:cNvCxnSpPr/>
          <p:nvPr userDrawn="1"/>
        </p:nvCxnSpPr>
        <p:spPr>
          <a:xfrm>
            <a:off x="7540870" y="3265885"/>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5" name="직선 연결선 70"/>
          <p:cNvCxnSpPr/>
          <p:nvPr userDrawn="1"/>
        </p:nvCxnSpPr>
        <p:spPr>
          <a:xfrm>
            <a:off x="1579685" y="4238625"/>
            <a:ext cx="901212"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6" name="직선 연결선 71"/>
          <p:cNvCxnSpPr/>
          <p:nvPr userDrawn="1"/>
        </p:nvCxnSpPr>
        <p:spPr>
          <a:xfrm>
            <a:off x="3566747" y="4238625"/>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
        <p:nvSpPr>
          <p:cNvPr id="4" name="그림 개체 틀 7"/>
          <p:cNvSpPr>
            <a:spLocks noGrp="1"/>
          </p:cNvSpPr>
          <p:nvPr>
            <p:ph type="pic" sz="quarter" idx="10"/>
          </p:nvPr>
        </p:nvSpPr>
        <p:spPr>
          <a:xfrm>
            <a:off x="720725" y="959647"/>
            <a:ext cx="720000" cy="756000"/>
          </a:xfrm>
          <a:prstGeom prst="rect">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42" name="텍스트 개체 틀 32"/>
          <p:cNvSpPr>
            <a:spLocks noGrp="1"/>
          </p:cNvSpPr>
          <p:nvPr>
            <p:ph type="body" sz="quarter" idx="15"/>
          </p:nvPr>
        </p:nvSpPr>
        <p:spPr>
          <a:xfrm>
            <a:off x="1580307" y="1132193"/>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44" name="텍스트 개체 틀 30"/>
          <p:cNvSpPr>
            <a:spLocks noGrp="1"/>
          </p:cNvSpPr>
          <p:nvPr>
            <p:ph type="body" sz="quarter" idx="14"/>
          </p:nvPr>
        </p:nvSpPr>
        <p:spPr>
          <a:xfrm>
            <a:off x="1580307" y="959649"/>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45" name="텍스트 개체 틀 34"/>
          <p:cNvSpPr>
            <a:spLocks noGrp="1"/>
          </p:cNvSpPr>
          <p:nvPr>
            <p:ph type="body" sz="quarter" idx="16"/>
          </p:nvPr>
        </p:nvSpPr>
        <p:spPr>
          <a:xfrm>
            <a:off x="1580307" y="1397212"/>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27" name="그림 개체 틀 7"/>
          <p:cNvSpPr>
            <a:spLocks noGrp="1"/>
          </p:cNvSpPr>
          <p:nvPr>
            <p:ph type="pic" sz="quarter" idx="17"/>
          </p:nvPr>
        </p:nvSpPr>
        <p:spPr>
          <a:xfrm>
            <a:off x="2706399" y="959647"/>
            <a:ext cx="720000" cy="756000"/>
          </a:xfrm>
          <a:prstGeom prst="rect">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28" name="텍스트 개체 틀 32"/>
          <p:cNvSpPr>
            <a:spLocks noGrp="1"/>
          </p:cNvSpPr>
          <p:nvPr>
            <p:ph type="body" sz="quarter" idx="18"/>
          </p:nvPr>
        </p:nvSpPr>
        <p:spPr>
          <a:xfrm>
            <a:off x="3567081" y="1126266"/>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30" name="텍스트 개체 틀 30"/>
          <p:cNvSpPr>
            <a:spLocks noGrp="1"/>
          </p:cNvSpPr>
          <p:nvPr>
            <p:ph type="body" sz="quarter" idx="19"/>
          </p:nvPr>
        </p:nvSpPr>
        <p:spPr>
          <a:xfrm>
            <a:off x="3567081" y="953722"/>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31" name="텍스트 개체 틀 34"/>
          <p:cNvSpPr>
            <a:spLocks noGrp="1"/>
          </p:cNvSpPr>
          <p:nvPr>
            <p:ph type="body" sz="quarter" idx="20"/>
          </p:nvPr>
        </p:nvSpPr>
        <p:spPr>
          <a:xfrm>
            <a:off x="3567081" y="1391285"/>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32" name="그림 개체 틀 7"/>
          <p:cNvSpPr>
            <a:spLocks noGrp="1"/>
          </p:cNvSpPr>
          <p:nvPr>
            <p:ph type="pic" sz="quarter" idx="21"/>
          </p:nvPr>
        </p:nvSpPr>
        <p:spPr>
          <a:xfrm>
            <a:off x="4692073" y="959647"/>
            <a:ext cx="720000" cy="756000"/>
          </a:xfrm>
          <a:prstGeom prst="rect">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33" name="텍스트 개체 틀 32"/>
          <p:cNvSpPr>
            <a:spLocks noGrp="1"/>
          </p:cNvSpPr>
          <p:nvPr>
            <p:ph type="body" sz="quarter" idx="22"/>
          </p:nvPr>
        </p:nvSpPr>
        <p:spPr>
          <a:xfrm>
            <a:off x="5553855" y="1124409"/>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35" name="텍스트 개체 틀 30"/>
          <p:cNvSpPr>
            <a:spLocks noGrp="1"/>
          </p:cNvSpPr>
          <p:nvPr>
            <p:ph type="body" sz="quarter" idx="23"/>
          </p:nvPr>
        </p:nvSpPr>
        <p:spPr>
          <a:xfrm>
            <a:off x="5553855" y="951865"/>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36" name="텍스트 개체 틀 34"/>
          <p:cNvSpPr>
            <a:spLocks noGrp="1"/>
          </p:cNvSpPr>
          <p:nvPr>
            <p:ph type="body" sz="quarter" idx="24"/>
          </p:nvPr>
        </p:nvSpPr>
        <p:spPr>
          <a:xfrm>
            <a:off x="5553855" y="1389428"/>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37" name="그림 개체 틀 7"/>
          <p:cNvSpPr>
            <a:spLocks noGrp="1"/>
          </p:cNvSpPr>
          <p:nvPr>
            <p:ph type="pic" sz="quarter" idx="25"/>
          </p:nvPr>
        </p:nvSpPr>
        <p:spPr>
          <a:xfrm>
            <a:off x="6677748" y="959647"/>
            <a:ext cx="720000" cy="756000"/>
          </a:xfrm>
          <a:prstGeom prst="rect">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38" name="텍스트 개체 틀 32"/>
          <p:cNvSpPr>
            <a:spLocks noGrp="1"/>
          </p:cNvSpPr>
          <p:nvPr>
            <p:ph type="body" sz="quarter" idx="26"/>
          </p:nvPr>
        </p:nvSpPr>
        <p:spPr>
          <a:xfrm>
            <a:off x="7540628" y="1118477"/>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40" name="텍스트 개체 틀 30"/>
          <p:cNvSpPr>
            <a:spLocks noGrp="1"/>
          </p:cNvSpPr>
          <p:nvPr>
            <p:ph type="body" sz="quarter" idx="27"/>
          </p:nvPr>
        </p:nvSpPr>
        <p:spPr>
          <a:xfrm>
            <a:off x="7540628" y="945933"/>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41" name="텍스트 개체 틀 34"/>
          <p:cNvSpPr>
            <a:spLocks noGrp="1"/>
          </p:cNvSpPr>
          <p:nvPr>
            <p:ph type="body" sz="quarter" idx="28"/>
          </p:nvPr>
        </p:nvSpPr>
        <p:spPr>
          <a:xfrm>
            <a:off x="7540628" y="1383496"/>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42" name="그림 개체 틀 7"/>
          <p:cNvSpPr>
            <a:spLocks noGrp="1"/>
          </p:cNvSpPr>
          <p:nvPr>
            <p:ph type="pic" sz="quarter" idx="29"/>
          </p:nvPr>
        </p:nvSpPr>
        <p:spPr>
          <a:xfrm>
            <a:off x="720725" y="1927760"/>
            <a:ext cx="720000" cy="756000"/>
          </a:xfrm>
          <a:prstGeom prst="rect">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43" name="텍스트 개체 틀 32"/>
          <p:cNvSpPr>
            <a:spLocks noGrp="1"/>
          </p:cNvSpPr>
          <p:nvPr>
            <p:ph type="body" sz="quarter" idx="30"/>
          </p:nvPr>
        </p:nvSpPr>
        <p:spPr>
          <a:xfrm>
            <a:off x="1580307" y="2100306"/>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45" name="텍스트 개체 틀 30"/>
          <p:cNvSpPr>
            <a:spLocks noGrp="1"/>
          </p:cNvSpPr>
          <p:nvPr>
            <p:ph type="body" sz="quarter" idx="31"/>
          </p:nvPr>
        </p:nvSpPr>
        <p:spPr>
          <a:xfrm>
            <a:off x="1580307" y="1927762"/>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46" name="텍스트 개체 틀 34"/>
          <p:cNvSpPr>
            <a:spLocks noGrp="1"/>
          </p:cNvSpPr>
          <p:nvPr>
            <p:ph type="body" sz="quarter" idx="32"/>
          </p:nvPr>
        </p:nvSpPr>
        <p:spPr>
          <a:xfrm>
            <a:off x="1580307" y="2365325"/>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47" name="그림 개체 틀 7"/>
          <p:cNvSpPr>
            <a:spLocks noGrp="1"/>
          </p:cNvSpPr>
          <p:nvPr>
            <p:ph type="pic" sz="quarter" idx="33"/>
          </p:nvPr>
        </p:nvSpPr>
        <p:spPr>
          <a:xfrm>
            <a:off x="2706399" y="1927760"/>
            <a:ext cx="720000" cy="756000"/>
          </a:xfrm>
          <a:prstGeom prst="rect">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48" name="텍스트 개체 틀 32"/>
          <p:cNvSpPr>
            <a:spLocks noGrp="1"/>
          </p:cNvSpPr>
          <p:nvPr>
            <p:ph type="body" sz="quarter" idx="34"/>
          </p:nvPr>
        </p:nvSpPr>
        <p:spPr>
          <a:xfrm>
            <a:off x="3567081" y="2100306"/>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0" name="텍스트 개체 틀 30"/>
          <p:cNvSpPr>
            <a:spLocks noGrp="1"/>
          </p:cNvSpPr>
          <p:nvPr>
            <p:ph type="body" sz="quarter" idx="35"/>
          </p:nvPr>
        </p:nvSpPr>
        <p:spPr>
          <a:xfrm>
            <a:off x="3567081" y="1927762"/>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51" name="텍스트 개체 틀 34"/>
          <p:cNvSpPr>
            <a:spLocks noGrp="1"/>
          </p:cNvSpPr>
          <p:nvPr>
            <p:ph type="body" sz="quarter" idx="36"/>
          </p:nvPr>
        </p:nvSpPr>
        <p:spPr>
          <a:xfrm>
            <a:off x="3567081" y="2365325"/>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52" name="그림 개체 틀 7"/>
          <p:cNvSpPr>
            <a:spLocks noGrp="1"/>
          </p:cNvSpPr>
          <p:nvPr>
            <p:ph type="pic" sz="quarter" idx="37"/>
          </p:nvPr>
        </p:nvSpPr>
        <p:spPr>
          <a:xfrm>
            <a:off x="4692073" y="1927760"/>
            <a:ext cx="720000" cy="756000"/>
          </a:xfrm>
          <a:prstGeom prst="rect">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53" name="텍스트 개체 틀 32"/>
          <p:cNvSpPr>
            <a:spLocks noGrp="1"/>
          </p:cNvSpPr>
          <p:nvPr>
            <p:ph type="body" sz="quarter" idx="38"/>
          </p:nvPr>
        </p:nvSpPr>
        <p:spPr>
          <a:xfrm>
            <a:off x="5553855" y="2100306"/>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5" name="텍스트 개체 틀 30"/>
          <p:cNvSpPr>
            <a:spLocks noGrp="1"/>
          </p:cNvSpPr>
          <p:nvPr>
            <p:ph type="body" sz="quarter" idx="39"/>
          </p:nvPr>
        </p:nvSpPr>
        <p:spPr>
          <a:xfrm>
            <a:off x="5553855" y="1927762"/>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56" name="텍스트 개체 틀 34"/>
          <p:cNvSpPr>
            <a:spLocks noGrp="1"/>
          </p:cNvSpPr>
          <p:nvPr>
            <p:ph type="body" sz="quarter" idx="40"/>
          </p:nvPr>
        </p:nvSpPr>
        <p:spPr>
          <a:xfrm>
            <a:off x="5553855" y="2365325"/>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57" name="그림 개체 틀 7"/>
          <p:cNvSpPr>
            <a:spLocks noGrp="1"/>
          </p:cNvSpPr>
          <p:nvPr>
            <p:ph type="pic" sz="quarter" idx="41"/>
          </p:nvPr>
        </p:nvSpPr>
        <p:spPr>
          <a:xfrm>
            <a:off x="6677748" y="1927760"/>
            <a:ext cx="720000" cy="756000"/>
          </a:xfrm>
          <a:prstGeom prst="rect">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58" name="텍스트 개체 틀 32"/>
          <p:cNvSpPr>
            <a:spLocks noGrp="1"/>
          </p:cNvSpPr>
          <p:nvPr>
            <p:ph type="body" sz="quarter" idx="42"/>
          </p:nvPr>
        </p:nvSpPr>
        <p:spPr>
          <a:xfrm>
            <a:off x="7540628" y="2100306"/>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60" name="텍스트 개체 틀 30"/>
          <p:cNvSpPr>
            <a:spLocks noGrp="1"/>
          </p:cNvSpPr>
          <p:nvPr>
            <p:ph type="body" sz="quarter" idx="43"/>
          </p:nvPr>
        </p:nvSpPr>
        <p:spPr>
          <a:xfrm>
            <a:off x="7540628" y="1927762"/>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61" name="텍스트 개체 틀 34"/>
          <p:cNvSpPr>
            <a:spLocks noGrp="1"/>
          </p:cNvSpPr>
          <p:nvPr>
            <p:ph type="body" sz="quarter" idx="44"/>
          </p:nvPr>
        </p:nvSpPr>
        <p:spPr>
          <a:xfrm>
            <a:off x="7540628" y="2365325"/>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62" name="그림 개체 틀 7"/>
          <p:cNvSpPr>
            <a:spLocks noGrp="1"/>
          </p:cNvSpPr>
          <p:nvPr>
            <p:ph type="pic" sz="quarter" idx="45"/>
          </p:nvPr>
        </p:nvSpPr>
        <p:spPr>
          <a:xfrm>
            <a:off x="720725" y="2895202"/>
            <a:ext cx="720000" cy="756000"/>
          </a:xfrm>
          <a:prstGeom prst="rect">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63" name="텍스트 개체 틀 32"/>
          <p:cNvSpPr>
            <a:spLocks noGrp="1"/>
          </p:cNvSpPr>
          <p:nvPr>
            <p:ph type="body" sz="quarter" idx="46"/>
          </p:nvPr>
        </p:nvSpPr>
        <p:spPr>
          <a:xfrm>
            <a:off x="1580307" y="3067748"/>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65" name="텍스트 개체 틀 30"/>
          <p:cNvSpPr>
            <a:spLocks noGrp="1"/>
          </p:cNvSpPr>
          <p:nvPr>
            <p:ph type="body" sz="quarter" idx="47"/>
          </p:nvPr>
        </p:nvSpPr>
        <p:spPr>
          <a:xfrm>
            <a:off x="1580307" y="2895204"/>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66" name="텍스트 개체 틀 34"/>
          <p:cNvSpPr>
            <a:spLocks noGrp="1"/>
          </p:cNvSpPr>
          <p:nvPr>
            <p:ph type="body" sz="quarter" idx="48"/>
          </p:nvPr>
        </p:nvSpPr>
        <p:spPr>
          <a:xfrm>
            <a:off x="1580307" y="3332767"/>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67" name="그림 개체 틀 7"/>
          <p:cNvSpPr>
            <a:spLocks noGrp="1"/>
          </p:cNvSpPr>
          <p:nvPr>
            <p:ph type="pic" sz="quarter" idx="49"/>
          </p:nvPr>
        </p:nvSpPr>
        <p:spPr>
          <a:xfrm>
            <a:off x="2706399" y="2895202"/>
            <a:ext cx="720000" cy="756000"/>
          </a:xfrm>
          <a:prstGeom prst="rect">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68" name="텍스트 개체 틀 32"/>
          <p:cNvSpPr>
            <a:spLocks noGrp="1"/>
          </p:cNvSpPr>
          <p:nvPr>
            <p:ph type="body" sz="quarter" idx="50"/>
          </p:nvPr>
        </p:nvSpPr>
        <p:spPr>
          <a:xfrm>
            <a:off x="3567081" y="3067748"/>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70" name="텍스트 개체 틀 30"/>
          <p:cNvSpPr>
            <a:spLocks noGrp="1"/>
          </p:cNvSpPr>
          <p:nvPr>
            <p:ph type="body" sz="quarter" idx="51"/>
          </p:nvPr>
        </p:nvSpPr>
        <p:spPr>
          <a:xfrm>
            <a:off x="3567081" y="2895204"/>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71" name="텍스트 개체 틀 34"/>
          <p:cNvSpPr>
            <a:spLocks noGrp="1"/>
          </p:cNvSpPr>
          <p:nvPr>
            <p:ph type="body" sz="quarter" idx="52"/>
          </p:nvPr>
        </p:nvSpPr>
        <p:spPr>
          <a:xfrm>
            <a:off x="3567081" y="3332767"/>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72" name="그림 개체 틀 7"/>
          <p:cNvSpPr>
            <a:spLocks noGrp="1"/>
          </p:cNvSpPr>
          <p:nvPr>
            <p:ph type="pic" sz="quarter" idx="53"/>
          </p:nvPr>
        </p:nvSpPr>
        <p:spPr>
          <a:xfrm>
            <a:off x="4692073" y="2895202"/>
            <a:ext cx="720000" cy="756000"/>
          </a:xfrm>
          <a:prstGeom prst="rect">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73" name="텍스트 개체 틀 32"/>
          <p:cNvSpPr>
            <a:spLocks noGrp="1"/>
          </p:cNvSpPr>
          <p:nvPr>
            <p:ph type="body" sz="quarter" idx="54"/>
          </p:nvPr>
        </p:nvSpPr>
        <p:spPr>
          <a:xfrm>
            <a:off x="5553855" y="3067748"/>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75" name="텍스트 개체 틀 30"/>
          <p:cNvSpPr>
            <a:spLocks noGrp="1"/>
          </p:cNvSpPr>
          <p:nvPr>
            <p:ph type="body" sz="quarter" idx="55"/>
          </p:nvPr>
        </p:nvSpPr>
        <p:spPr>
          <a:xfrm>
            <a:off x="5553855" y="2895204"/>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76" name="텍스트 개체 틀 34"/>
          <p:cNvSpPr>
            <a:spLocks noGrp="1"/>
          </p:cNvSpPr>
          <p:nvPr>
            <p:ph type="body" sz="quarter" idx="56"/>
          </p:nvPr>
        </p:nvSpPr>
        <p:spPr>
          <a:xfrm>
            <a:off x="5553855" y="3332767"/>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77" name="그림 개체 틀 7"/>
          <p:cNvSpPr>
            <a:spLocks noGrp="1"/>
          </p:cNvSpPr>
          <p:nvPr>
            <p:ph type="pic" sz="quarter" idx="57"/>
          </p:nvPr>
        </p:nvSpPr>
        <p:spPr>
          <a:xfrm>
            <a:off x="6677748" y="2895202"/>
            <a:ext cx="720000" cy="756000"/>
          </a:xfrm>
          <a:prstGeom prst="rect">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78" name="텍스트 개체 틀 32"/>
          <p:cNvSpPr>
            <a:spLocks noGrp="1"/>
          </p:cNvSpPr>
          <p:nvPr>
            <p:ph type="body" sz="quarter" idx="58"/>
          </p:nvPr>
        </p:nvSpPr>
        <p:spPr>
          <a:xfrm>
            <a:off x="7540628" y="3067748"/>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80" name="텍스트 개체 틀 30"/>
          <p:cNvSpPr>
            <a:spLocks noGrp="1"/>
          </p:cNvSpPr>
          <p:nvPr>
            <p:ph type="body" sz="quarter" idx="59"/>
          </p:nvPr>
        </p:nvSpPr>
        <p:spPr>
          <a:xfrm>
            <a:off x="7540628" y="2895204"/>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81" name="텍스트 개체 틀 34"/>
          <p:cNvSpPr>
            <a:spLocks noGrp="1"/>
          </p:cNvSpPr>
          <p:nvPr>
            <p:ph type="body" sz="quarter" idx="60"/>
          </p:nvPr>
        </p:nvSpPr>
        <p:spPr>
          <a:xfrm>
            <a:off x="7540628" y="3332767"/>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82" name="그림 개체 틀 7"/>
          <p:cNvSpPr>
            <a:spLocks noGrp="1"/>
          </p:cNvSpPr>
          <p:nvPr>
            <p:ph type="pic" sz="quarter" idx="61"/>
          </p:nvPr>
        </p:nvSpPr>
        <p:spPr>
          <a:xfrm>
            <a:off x="720725" y="3868182"/>
            <a:ext cx="720000" cy="756000"/>
          </a:xfrm>
          <a:prstGeom prst="rect">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83" name="텍스트 개체 틀 32"/>
          <p:cNvSpPr>
            <a:spLocks noGrp="1"/>
          </p:cNvSpPr>
          <p:nvPr>
            <p:ph type="body" sz="quarter" idx="62"/>
          </p:nvPr>
        </p:nvSpPr>
        <p:spPr>
          <a:xfrm>
            <a:off x="1580307" y="4040728"/>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85" name="텍스트 개체 틀 30"/>
          <p:cNvSpPr>
            <a:spLocks noGrp="1"/>
          </p:cNvSpPr>
          <p:nvPr>
            <p:ph type="body" sz="quarter" idx="63"/>
          </p:nvPr>
        </p:nvSpPr>
        <p:spPr>
          <a:xfrm>
            <a:off x="1580307" y="3868184"/>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86" name="텍스트 개체 틀 34"/>
          <p:cNvSpPr>
            <a:spLocks noGrp="1"/>
          </p:cNvSpPr>
          <p:nvPr>
            <p:ph type="body" sz="quarter" idx="64"/>
          </p:nvPr>
        </p:nvSpPr>
        <p:spPr>
          <a:xfrm>
            <a:off x="1580307" y="4305748"/>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87" name="그림 개체 틀 7"/>
          <p:cNvSpPr>
            <a:spLocks noGrp="1"/>
          </p:cNvSpPr>
          <p:nvPr>
            <p:ph type="pic" sz="quarter" idx="65"/>
          </p:nvPr>
        </p:nvSpPr>
        <p:spPr>
          <a:xfrm>
            <a:off x="2706399" y="3868182"/>
            <a:ext cx="720000" cy="756000"/>
          </a:xfrm>
          <a:prstGeom prst="rect">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750" dirty="0">
                <a:solidFill>
                  <a:schemeClr val="bg1">
                    <a:lumMod val="65000"/>
                  </a:schemeClr>
                </a:solidFill>
              </a:defRPr>
            </a:lvl1pPr>
          </a:lstStyle>
          <a:p>
            <a:pPr lvl="0"/>
            <a:r>
              <a:rPr lang="en-US" altLang="ko-KR" noProof="0"/>
              <a:t>Click icon to add picture</a:t>
            </a:r>
            <a:endParaRPr lang="ko-KR" altLang="en-US" noProof="0" dirty="0"/>
          </a:p>
        </p:txBody>
      </p:sp>
      <p:sp>
        <p:nvSpPr>
          <p:cNvPr id="188" name="텍스트 개체 틀 32"/>
          <p:cNvSpPr>
            <a:spLocks noGrp="1"/>
          </p:cNvSpPr>
          <p:nvPr>
            <p:ph type="body" sz="quarter" idx="66"/>
          </p:nvPr>
        </p:nvSpPr>
        <p:spPr>
          <a:xfrm>
            <a:off x="3567081" y="4040728"/>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90" name="텍스트 개체 틀 30"/>
          <p:cNvSpPr>
            <a:spLocks noGrp="1"/>
          </p:cNvSpPr>
          <p:nvPr>
            <p:ph type="body" sz="quarter" idx="67"/>
          </p:nvPr>
        </p:nvSpPr>
        <p:spPr>
          <a:xfrm>
            <a:off x="3567081" y="3868184"/>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91" name="텍스트 개체 틀 34"/>
          <p:cNvSpPr>
            <a:spLocks noGrp="1"/>
          </p:cNvSpPr>
          <p:nvPr>
            <p:ph type="body" sz="quarter" idx="68"/>
          </p:nvPr>
        </p:nvSpPr>
        <p:spPr>
          <a:xfrm>
            <a:off x="3567081" y="4305748"/>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Members : type 4">
    <p:spTree>
      <p:nvGrpSpPr>
        <p:cNvPr id="1" name=""/>
        <p:cNvGrpSpPr/>
        <p:nvPr/>
      </p:nvGrpSpPr>
      <p:grpSpPr>
        <a:xfrm>
          <a:off x="0" y="0"/>
          <a:ext cx="0" cy="0"/>
          <a:chOff x="0" y="0"/>
          <a:chExt cx="0" cy="0"/>
        </a:xfrm>
      </p:grpSpPr>
      <p:graphicFrame>
        <p:nvGraphicFramePr>
          <p:cNvPr id="59" name="Object 289"/>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
                  <p:embed/>
                </p:oleObj>
              </mc:Choice>
              <mc:Fallback>
                <p:oleObj name="think-cell Slide" r:id="rId3" imgW="12700" imgH="12700" progId="">
                  <p:embed/>
                  <p:pic>
                    <p:nvPicPr>
                      <p:cNvPr id="0" name="Object 28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Oval 8"/>
          <p:cNvSpPr/>
          <p:nvPr userDrawn="1"/>
        </p:nvSpPr>
        <p:spPr>
          <a:xfrm flipH="1">
            <a:off x="8244254" y="4866085"/>
            <a:ext cx="211015" cy="171450"/>
          </a:xfrm>
          <a:prstGeom prst="ellipse">
            <a:avLst/>
          </a:prstGeom>
          <a:solidFill>
            <a:schemeClr val="tx2">
              <a:alpha val="25000"/>
            </a:schemeClr>
          </a:solidFill>
          <a:ln>
            <a:noFill/>
          </a:ln>
        </p:spPr>
        <p:style>
          <a:lnRef idx="2">
            <a:schemeClr val="dk1"/>
          </a:lnRef>
          <a:fillRef idx="1">
            <a:schemeClr val="lt1"/>
          </a:fillRef>
          <a:effectRef idx="0">
            <a:schemeClr val="dk1"/>
          </a:effectRef>
          <a:fontRef idx="minor">
            <a:schemeClr val="dk1"/>
          </a:fontRef>
        </p:style>
        <p:txBody>
          <a:bodyPr lIns="0" tIns="0" rIns="0" bIns="8100" anchor="ctr"/>
          <a:lstStyle/>
          <a:p>
            <a:pPr algn="ctr" eaLnBrk="1" fontAlgn="auto" latinLnBrk="1" hangingPunct="1">
              <a:spcBef>
                <a:spcPts val="0"/>
              </a:spcBef>
              <a:spcAft>
                <a:spcPts val="0"/>
              </a:spcAft>
              <a:defRPr/>
            </a:pPr>
            <a:endParaRPr lang="en-US" sz="675" dirty="0">
              <a:gradFill flip="none" rotWithShape="1">
                <a:gsLst>
                  <a:gs pos="0">
                    <a:srgbClr val="FFFFFF"/>
                  </a:gs>
                  <a:gs pos="100000">
                    <a:srgbClr val="FFFFFF"/>
                  </a:gs>
                </a:gsLst>
                <a:lin ang="0" scaled="1"/>
                <a:tileRect/>
              </a:gradFill>
              <a:latin typeface="Bebas Neue"/>
            </a:endParaRPr>
          </a:p>
        </p:txBody>
      </p:sp>
      <p:cxnSp>
        <p:nvCxnSpPr>
          <p:cNvPr id="61" name="직선 연결선 25"/>
          <p:cNvCxnSpPr/>
          <p:nvPr/>
        </p:nvCxnSpPr>
        <p:spPr>
          <a:xfrm>
            <a:off x="720969" y="742950"/>
            <a:ext cx="3238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2" name="슬라이드 번호 개체 틀 4"/>
          <p:cNvSpPr txBox="1"/>
          <p:nvPr/>
        </p:nvSpPr>
        <p:spPr>
          <a:xfrm>
            <a:off x="8127024" y="4867275"/>
            <a:ext cx="413238" cy="179785"/>
          </a:xfrm>
          <a:prstGeom prst="rect">
            <a:avLst/>
          </a:prstGeom>
        </p:spPr>
        <p:txBody>
          <a:bodyPr tIns="0" bIns="0" anchor="ctr"/>
          <a:lstStyle>
            <a:lvl1pPr eaLnBrk="0" hangingPunct="0">
              <a:defRPr>
                <a:solidFill>
                  <a:schemeClr val="tx1"/>
                </a:solidFill>
                <a:latin typeface="Arial" panose="020B0604020202020204" pitchFamily="34" charset="0"/>
                <a:ea typeface="Roboto Condensed Light"/>
                <a:cs typeface="Roboto Condensed Light"/>
              </a:defRPr>
            </a:lvl1pPr>
            <a:lvl2pPr marL="742950" indent="-285750" eaLnBrk="0" hangingPunct="0">
              <a:defRPr>
                <a:solidFill>
                  <a:schemeClr val="tx1"/>
                </a:solidFill>
                <a:latin typeface="Arial" panose="020B0604020202020204" pitchFamily="34" charset="0"/>
                <a:ea typeface="Roboto Condensed Light"/>
                <a:cs typeface="Roboto Condensed Light"/>
              </a:defRPr>
            </a:lvl2pPr>
            <a:lvl3pPr marL="1143000" indent="-228600" eaLnBrk="0" hangingPunct="0">
              <a:defRPr>
                <a:solidFill>
                  <a:schemeClr val="tx1"/>
                </a:solidFill>
                <a:latin typeface="Arial" panose="020B0604020202020204" pitchFamily="34" charset="0"/>
                <a:ea typeface="Roboto Condensed Light"/>
                <a:cs typeface="Roboto Condensed Light"/>
              </a:defRPr>
            </a:lvl3pPr>
            <a:lvl4pPr marL="1600200" indent="-228600" eaLnBrk="0" hangingPunct="0">
              <a:defRPr>
                <a:solidFill>
                  <a:schemeClr val="tx1"/>
                </a:solidFill>
                <a:latin typeface="Arial" panose="020B0604020202020204" pitchFamily="34" charset="0"/>
                <a:ea typeface="Roboto Condensed Light"/>
                <a:cs typeface="Roboto Condensed Light"/>
              </a:defRPr>
            </a:lvl4pPr>
            <a:lvl5pPr marL="2057400" indent="-228600" eaLnBrk="0" hangingPunct="0">
              <a:defRPr>
                <a:solidFill>
                  <a:schemeClr val="tx1"/>
                </a:solidFill>
                <a:latin typeface="Arial" panose="020B0604020202020204" pitchFamily="34" charset="0"/>
                <a:ea typeface="Roboto Condensed Light"/>
                <a:cs typeface="Roboto Condensed Light"/>
              </a:defRPr>
            </a:lvl5pPr>
            <a:lvl6pPr marL="25146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6pPr>
            <a:lvl7pPr marL="29718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7pPr>
            <a:lvl8pPr marL="34290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8pPr>
            <a:lvl9pPr marL="38862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9pPr>
          </a:lstStyle>
          <a:p>
            <a:pPr algn="ctr" eaLnBrk="1" latinLnBrk="1" hangingPunct="1">
              <a:defRPr/>
            </a:pPr>
            <a:fld id="{DD5CA65E-7BC1-4052-AEDB-CDB0D9681C42}" type="slidenum">
              <a:rPr lang="ko-KR" altLang="en-US" sz="675" b="1" smtClean="0">
                <a:solidFill>
                  <a:srgbClr val="FFFFFF"/>
                </a:solidFill>
                <a:latin typeface="Roboto Condensed Regular"/>
              </a:rPr>
            </a:fld>
            <a:endParaRPr lang="ko-KR" altLang="en-US" sz="675" b="1">
              <a:solidFill>
                <a:srgbClr val="FFFFFF"/>
              </a:solidFill>
              <a:latin typeface="Roboto Condensed Regular"/>
            </a:endParaRPr>
          </a:p>
        </p:txBody>
      </p:sp>
      <p:cxnSp>
        <p:nvCxnSpPr>
          <p:cNvPr id="63" name="직선 연결선 72"/>
          <p:cNvCxnSpPr/>
          <p:nvPr userDrawn="1"/>
        </p:nvCxnSpPr>
        <p:spPr>
          <a:xfrm>
            <a:off x="1579685" y="1329929"/>
            <a:ext cx="901212"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직선 연결선 73"/>
          <p:cNvCxnSpPr/>
          <p:nvPr userDrawn="1"/>
        </p:nvCxnSpPr>
        <p:spPr>
          <a:xfrm>
            <a:off x="3566747" y="1323975"/>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직선 연결선 74"/>
          <p:cNvCxnSpPr/>
          <p:nvPr userDrawn="1"/>
        </p:nvCxnSpPr>
        <p:spPr>
          <a:xfrm>
            <a:off x="5553808" y="1322785"/>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직선 연결선 75"/>
          <p:cNvCxnSpPr/>
          <p:nvPr userDrawn="1"/>
        </p:nvCxnSpPr>
        <p:spPr>
          <a:xfrm>
            <a:off x="7540870" y="1316831"/>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 name="직선 연결선 76"/>
          <p:cNvCxnSpPr/>
          <p:nvPr userDrawn="1"/>
        </p:nvCxnSpPr>
        <p:spPr>
          <a:xfrm>
            <a:off x="1579685" y="2297906"/>
            <a:ext cx="901212"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직선 연결선 77"/>
          <p:cNvCxnSpPr/>
          <p:nvPr userDrawn="1"/>
        </p:nvCxnSpPr>
        <p:spPr>
          <a:xfrm>
            <a:off x="3566747" y="2297906"/>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직선 연결선 78"/>
          <p:cNvCxnSpPr/>
          <p:nvPr userDrawn="1"/>
        </p:nvCxnSpPr>
        <p:spPr>
          <a:xfrm>
            <a:off x="5553808" y="2297906"/>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0" name="직선 연결선 79"/>
          <p:cNvCxnSpPr/>
          <p:nvPr userDrawn="1"/>
        </p:nvCxnSpPr>
        <p:spPr>
          <a:xfrm>
            <a:off x="7540870" y="2297906"/>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 name="직선 연결선 80"/>
          <p:cNvCxnSpPr/>
          <p:nvPr userDrawn="1"/>
        </p:nvCxnSpPr>
        <p:spPr>
          <a:xfrm>
            <a:off x="1545981" y="3265885"/>
            <a:ext cx="90121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 name="직선 연결선 81"/>
          <p:cNvCxnSpPr/>
          <p:nvPr userDrawn="1"/>
        </p:nvCxnSpPr>
        <p:spPr>
          <a:xfrm>
            <a:off x="3566747" y="3265885"/>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 name="직선 연결선 82"/>
          <p:cNvCxnSpPr/>
          <p:nvPr userDrawn="1"/>
        </p:nvCxnSpPr>
        <p:spPr>
          <a:xfrm>
            <a:off x="5553808" y="3265885"/>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 name="직선 연결선 83"/>
          <p:cNvCxnSpPr/>
          <p:nvPr userDrawn="1"/>
        </p:nvCxnSpPr>
        <p:spPr>
          <a:xfrm>
            <a:off x="7540870" y="3265885"/>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5" name="직선 연결선 84"/>
          <p:cNvCxnSpPr/>
          <p:nvPr userDrawn="1"/>
        </p:nvCxnSpPr>
        <p:spPr>
          <a:xfrm>
            <a:off x="1545981" y="4238625"/>
            <a:ext cx="90121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6" name="직선 연결선 85"/>
          <p:cNvCxnSpPr/>
          <p:nvPr userDrawn="1"/>
        </p:nvCxnSpPr>
        <p:spPr>
          <a:xfrm>
            <a:off x="3582866" y="4238625"/>
            <a:ext cx="89974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
        <p:nvSpPr>
          <p:cNvPr id="4" name="그림 개체 틀 7"/>
          <p:cNvSpPr>
            <a:spLocks noGrp="1"/>
          </p:cNvSpPr>
          <p:nvPr>
            <p:ph type="pic" sz="quarter" idx="10"/>
          </p:nvPr>
        </p:nvSpPr>
        <p:spPr>
          <a:xfrm>
            <a:off x="720725" y="959647"/>
            <a:ext cx="720000" cy="756000"/>
          </a:xfrm>
          <a:prstGeom prst="teardrop">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42" name="텍스트 개체 틀 32"/>
          <p:cNvSpPr>
            <a:spLocks noGrp="1"/>
          </p:cNvSpPr>
          <p:nvPr>
            <p:ph type="body" sz="quarter" idx="15"/>
          </p:nvPr>
        </p:nvSpPr>
        <p:spPr>
          <a:xfrm>
            <a:off x="1580307" y="1132193"/>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44" name="텍스트 개체 틀 30"/>
          <p:cNvSpPr>
            <a:spLocks noGrp="1"/>
          </p:cNvSpPr>
          <p:nvPr>
            <p:ph type="body" sz="quarter" idx="14"/>
          </p:nvPr>
        </p:nvSpPr>
        <p:spPr>
          <a:xfrm>
            <a:off x="1580307" y="959649"/>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45" name="텍스트 개체 틀 34"/>
          <p:cNvSpPr>
            <a:spLocks noGrp="1"/>
          </p:cNvSpPr>
          <p:nvPr>
            <p:ph type="body" sz="quarter" idx="16"/>
          </p:nvPr>
        </p:nvSpPr>
        <p:spPr>
          <a:xfrm>
            <a:off x="1580307" y="1397212"/>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27" name="그림 개체 틀 7"/>
          <p:cNvSpPr>
            <a:spLocks noGrp="1"/>
          </p:cNvSpPr>
          <p:nvPr>
            <p:ph type="pic" sz="quarter" idx="17"/>
          </p:nvPr>
        </p:nvSpPr>
        <p:spPr>
          <a:xfrm>
            <a:off x="2706399" y="959647"/>
            <a:ext cx="720000" cy="756000"/>
          </a:xfrm>
          <a:prstGeom prst="teardrop">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28" name="텍스트 개체 틀 32"/>
          <p:cNvSpPr>
            <a:spLocks noGrp="1"/>
          </p:cNvSpPr>
          <p:nvPr>
            <p:ph type="body" sz="quarter" idx="18"/>
          </p:nvPr>
        </p:nvSpPr>
        <p:spPr>
          <a:xfrm>
            <a:off x="3567081" y="1126266"/>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30" name="텍스트 개체 틀 30"/>
          <p:cNvSpPr>
            <a:spLocks noGrp="1"/>
          </p:cNvSpPr>
          <p:nvPr>
            <p:ph type="body" sz="quarter" idx="19"/>
          </p:nvPr>
        </p:nvSpPr>
        <p:spPr>
          <a:xfrm>
            <a:off x="3567081" y="953722"/>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31" name="텍스트 개체 틀 34"/>
          <p:cNvSpPr>
            <a:spLocks noGrp="1"/>
          </p:cNvSpPr>
          <p:nvPr>
            <p:ph type="body" sz="quarter" idx="20"/>
          </p:nvPr>
        </p:nvSpPr>
        <p:spPr>
          <a:xfrm>
            <a:off x="3567081" y="1391285"/>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32" name="그림 개체 틀 7"/>
          <p:cNvSpPr>
            <a:spLocks noGrp="1"/>
          </p:cNvSpPr>
          <p:nvPr>
            <p:ph type="pic" sz="quarter" idx="21"/>
          </p:nvPr>
        </p:nvSpPr>
        <p:spPr>
          <a:xfrm>
            <a:off x="4692073" y="959647"/>
            <a:ext cx="720000" cy="756000"/>
          </a:xfrm>
          <a:prstGeom prst="teardrop">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33" name="텍스트 개체 틀 32"/>
          <p:cNvSpPr>
            <a:spLocks noGrp="1"/>
          </p:cNvSpPr>
          <p:nvPr>
            <p:ph type="body" sz="quarter" idx="22"/>
          </p:nvPr>
        </p:nvSpPr>
        <p:spPr>
          <a:xfrm>
            <a:off x="5553855" y="1124409"/>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35" name="텍스트 개체 틀 30"/>
          <p:cNvSpPr>
            <a:spLocks noGrp="1"/>
          </p:cNvSpPr>
          <p:nvPr>
            <p:ph type="body" sz="quarter" idx="23"/>
          </p:nvPr>
        </p:nvSpPr>
        <p:spPr>
          <a:xfrm>
            <a:off x="5553855" y="951865"/>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36" name="텍스트 개체 틀 34"/>
          <p:cNvSpPr>
            <a:spLocks noGrp="1"/>
          </p:cNvSpPr>
          <p:nvPr>
            <p:ph type="body" sz="quarter" idx="24"/>
          </p:nvPr>
        </p:nvSpPr>
        <p:spPr>
          <a:xfrm>
            <a:off x="5553855" y="1389428"/>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37" name="그림 개체 틀 7"/>
          <p:cNvSpPr>
            <a:spLocks noGrp="1"/>
          </p:cNvSpPr>
          <p:nvPr>
            <p:ph type="pic" sz="quarter" idx="25"/>
          </p:nvPr>
        </p:nvSpPr>
        <p:spPr>
          <a:xfrm>
            <a:off x="6677748" y="959647"/>
            <a:ext cx="720000" cy="756000"/>
          </a:xfrm>
          <a:prstGeom prst="teardrop">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38" name="텍스트 개체 틀 32"/>
          <p:cNvSpPr>
            <a:spLocks noGrp="1"/>
          </p:cNvSpPr>
          <p:nvPr>
            <p:ph type="body" sz="quarter" idx="26"/>
          </p:nvPr>
        </p:nvSpPr>
        <p:spPr>
          <a:xfrm>
            <a:off x="7540628" y="1118477"/>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40" name="텍스트 개체 틀 30"/>
          <p:cNvSpPr>
            <a:spLocks noGrp="1"/>
          </p:cNvSpPr>
          <p:nvPr>
            <p:ph type="body" sz="quarter" idx="27"/>
          </p:nvPr>
        </p:nvSpPr>
        <p:spPr>
          <a:xfrm>
            <a:off x="7540628" y="945933"/>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41" name="텍스트 개체 틀 34"/>
          <p:cNvSpPr>
            <a:spLocks noGrp="1"/>
          </p:cNvSpPr>
          <p:nvPr>
            <p:ph type="body" sz="quarter" idx="28"/>
          </p:nvPr>
        </p:nvSpPr>
        <p:spPr>
          <a:xfrm>
            <a:off x="7540628" y="1383496"/>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42" name="그림 개체 틀 7"/>
          <p:cNvSpPr>
            <a:spLocks noGrp="1"/>
          </p:cNvSpPr>
          <p:nvPr>
            <p:ph type="pic" sz="quarter" idx="29"/>
          </p:nvPr>
        </p:nvSpPr>
        <p:spPr>
          <a:xfrm>
            <a:off x="720725" y="1927760"/>
            <a:ext cx="720000" cy="756000"/>
          </a:xfrm>
          <a:prstGeom prst="teardrop">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43" name="텍스트 개체 틀 32"/>
          <p:cNvSpPr>
            <a:spLocks noGrp="1"/>
          </p:cNvSpPr>
          <p:nvPr>
            <p:ph type="body" sz="quarter" idx="30"/>
          </p:nvPr>
        </p:nvSpPr>
        <p:spPr>
          <a:xfrm>
            <a:off x="1580307" y="2100306"/>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45" name="텍스트 개체 틀 30"/>
          <p:cNvSpPr>
            <a:spLocks noGrp="1"/>
          </p:cNvSpPr>
          <p:nvPr>
            <p:ph type="body" sz="quarter" idx="31"/>
          </p:nvPr>
        </p:nvSpPr>
        <p:spPr>
          <a:xfrm>
            <a:off x="1580307" y="1927762"/>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46" name="텍스트 개체 틀 34"/>
          <p:cNvSpPr>
            <a:spLocks noGrp="1"/>
          </p:cNvSpPr>
          <p:nvPr>
            <p:ph type="body" sz="quarter" idx="32"/>
          </p:nvPr>
        </p:nvSpPr>
        <p:spPr>
          <a:xfrm>
            <a:off x="1580307" y="2365325"/>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47" name="그림 개체 틀 7"/>
          <p:cNvSpPr>
            <a:spLocks noGrp="1"/>
          </p:cNvSpPr>
          <p:nvPr>
            <p:ph type="pic" sz="quarter" idx="33"/>
          </p:nvPr>
        </p:nvSpPr>
        <p:spPr>
          <a:xfrm>
            <a:off x="2706399" y="1927760"/>
            <a:ext cx="720000" cy="756000"/>
          </a:xfrm>
          <a:prstGeom prst="teardrop">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48" name="텍스트 개체 틀 32"/>
          <p:cNvSpPr>
            <a:spLocks noGrp="1"/>
          </p:cNvSpPr>
          <p:nvPr>
            <p:ph type="body" sz="quarter" idx="34"/>
          </p:nvPr>
        </p:nvSpPr>
        <p:spPr>
          <a:xfrm>
            <a:off x="3567081" y="2100306"/>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0" name="텍스트 개체 틀 30"/>
          <p:cNvSpPr>
            <a:spLocks noGrp="1"/>
          </p:cNvSpPr>
          <p:nvPr>
            <p:ph type="body" sz="quarter" idx="35"/>
          </p:nvPr>
        </p:nvSpPr>
        <p:spPr>
          <a:xfrm>
            <a:off x="3567081" y="1927762"/>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51" name="텍스트 개체 틀 34"/>
          <p:cNvSpPr>
            <a:spLocks noGrp="1"/>
          </p:cNvSpPr>
          <p:nvPr>
            <p:ph type="body" sz="quarter" idx="36"/>
          </p:nvPr>
        </p:nvSpPr>
        <p:spPr>
          <a:xfrm>
            <a:off x="3567081" y="2365325"/>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52" name="그림 개체 틀 7"/>
          <p:cNvSpPr>
            <a:spLocks noGrp="1"/>
          </p:cNvSpPr>
          <p:nvPr>
            <p:ph type="pic" sz="quarter" idx="37"/>
          </p:nvPr>
        </p:nvSpPr>
        <p:spPr>
          <a:xfrm>
            <a:off x="4692073" y="1927760"/>
            <a:ext cx="720000" cy="756000"/>
          </a:xfrm>
          <a:prstGeom prst="teardrop">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53" name="텍스트 개체 틀 32"/>
          <p:cNvSpPr>
            <a:spLocks noGrp="1"/>
          </p:cNvSpPr>
          <p:nvPr>
            <p:ph type="body" sz="quarter" idx="38"/>
          </p:nvPr>
        </p:nvSpPr>
        <p:spPr>
          <a:xfrm>
            <a:off x="5553855" y="2100306"/>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5" name="텍스트 개체 틀 30"/>
          <p:cNvSpPr>
            <a:spLocks noGrp="1"/>
          </p:cNvSpPr>
          <p:nvPr>
            <p:ph type="body" sz="quarter" idx="39"/>
          </p:nvPr>
        </p:nvSpPr>
        <p:spPr>
          <a:xfrm>
            <a:off x="5553855" y="1927762"/>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56" name="텍스트 개체 틀 34"/>
          <p:cNvSpPr>
            <a:spLocks noGrp="1"/>
          </p:cNvSpPr>
          <p:nvPr>
            <p:ph type="body" sz="quarter" idx="40"/>
          </p:nvPr>
        </p:nvSpPr>
        <p:spPr>
          <a:xfrm>
            <a:off x="5553855" y="2365325"/>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57" name="그림 개체 틀 7"/>
          <p:cNvSpPr>
            <a:spLocks noGrp="1"/>
          </p:cNvSpPr>
          <p:nvPr>
            <p:ph type="pic" sz="quarter" idx="41"/>
          </p:nvPr>
        </p:nvSpPr>
        <p:spPr>
          <a:xfrm>
            <a:off x="6677748" y="1927760"/>
            <a:ext cx="720000" cy="756000"/>
          </a:xfrm>
          <a:prstGeom prst="teardrop">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58" name="텍스트 개체 틀 32"/>
          <p:cNvSpPr>
            <a:spLocks noGrp="1"/>
          </p:cNvSpPr>
          <p:nvPr>
            <p:ph type="body" sz="quarter" idx="42"/>
          </p:nvPr>
        </p:nvSpPr>
        <p:spPr>
          <a:xfrm>
            <a:off x="7540628" y="2100306"/>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60" name="텍스트 개체 틀 30"/>
          <p:cNvSpPr>
            <a:spLocks noGrp="1"/>
          </p:cNvSpPr>
          <p:nvPr>
            <p:ph type="body" sz="quarter" idx="43"/>
          </p:nvPr>
        </p:nvSpPr>
        <p:spPr>
          <a:xfrm>
            <a:off x="7540628" y="1927762"/>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61" name="텍스트 개체 틀 34"/>
          <p:cNvSpPr>
            <a:spLocks noGrp="1"/>
          </p:cNvSpPr>
          <p:nvPr>
            <p:ph type="body" sz="quarter" idx="44"/>
          </p:nvPr>
        </p:nvSpPr>
        <p:spPr>
          <a:xfrm>
            <a:off x="7540628" y="2365325"/>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62" name="그림 개체 틀 7"/>
          <p:cNvSpPr>
            <a:spLocks noGrp="1"/>
          </p:cNvSpPr>
          <p:nvPr>
            <p:ph type="pic" sz="quarter" idx="45"/>
          </p:nvPr>
        </p:nvSpPr>
        <p:spPr>
          <a:xfrm>
            <a:off x="720725" y="2895202"/>
            <a:ext cx="720000" cy="756000"/>
          </a:xfrm>
          <a:prstGeom prst="teardrop">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63" name="텍스트 개체 틀 32"/>
          <p:cNvSpPr>
            <a:spLocks noGrp="1"/>
          </p:cNvSpPr>
          <p:nvPr>
            <p:ph type="body" sz="quarter" idx="46"/>
          </p:nvPr>
        </p:nvSpPr>
        <p:spPr>
          <a:xfrm>
            <a:off x="1546704" y="3067748"/>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65" name="텍스트 개체 틀 30"/>
          <p:cNvSpPr>
            <a:spLocks noGrp="1"/>
          </p:cNvSpPr>
          <p:nvPr>
            <p:ph type="body" sz="quarter" idx="47"/>
          </p:nvPr>
        </p:nvSpPr>
        <p:spPr>
          <a:xfrm>
            <a:off x="1546704" y="2895204"/>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66" name="텍스트 개체 틀 34"/>
          <p:cNvSpPr>
            <a:spLocks noGrp="1"/>
          </p:cNvSpPr>
          <p:nvPr>
            <p:ph type="body" sz="quarter" idx="48"/>
          </p:nvPr>
        </p:nvSpPr>
        <p:spPr>
          <a:xfrm>
            <a:off x="1546704" y="3332767"/>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67" name="그림 개체 틀 7"/>
          <p:cNvSpPr>
            <a:spLocks noGrp="1"/>
          </p:cNvSpPr>
          <p:nvPr>
            <p:ph type="pic" sz="quarter" idx="49"/>
          </p:nvPr>
        </p:nvSpPr>
        <p:spPr>
          <a:xfrm>
            <a:off x="2706399" y="2895202"/>
            <a:ext cx="720000" cy="756000"/>
          </a:xfrm>
          <a:prstGeom prst="teardrop">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68" name="텍스트 개체 틀 32"/>
          <p:cNvSpPr>
            <a:spLocks noGrp="1"/>
          </p:cNvSpPr>
          <p:nvPr>
            <p:ph type="body" sz="quarter" idx="50"/>
          </p:nvPr>
        </p:nvSpPr>
        <p:spPr>
          <a:xfrm>
            <a:off x="3567081" y="3067748"/>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70" name="텍스트 개체 틀 30"/>
          <p:cNvSpPr>
            <a:spLocks noGrp="1"/>
          </p:cNvSpPr>
          <p:nvPr>
            <p:ph type="body" sz="quarter" idx="51"/>
          </p:nvPr>
        </p:nvSpPr>
        <p:spPr>
          <a:xfrm>
            <a:off x="3567081" y="2895204"/>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71" name="텍스트 개체 틀 34"/>
          <p:cNvSpPr>
            <a:spLocks noGrp="1"/>
          </p:cNvSpPr>
          <p:nvPr>
            <p:ph type="body" sz="quarter" idx="52"/>
          </p:nvPr>
        </p:nvSpPr>
        <p:spPr>
          <a:xfrm>
            <a:off x="3567081" y="3332767"/>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72" name="그림 개체 틀 7"/>
          <p:cNvSpPr>
            <a:spLocks noGrp="1"/>
          </p:cNvSpPr>
          <p:nvPr>
            <p:ph type="pic" sz="quarter" idx="53"/>
          </p:nvPr>
        </p:nvSpPr>
        <p:spPr>
          <a:xfrm>
            <a:off x="4692073" y="2895202"/>
            <a:ext cx="720000" cy="756000"/>
          </a:xfrm>
          <a:prstGeom prst="teardrop">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73" name="텍스트 개체 틀 32"/>
          <p:cNvSpPr>
            <a:spLocks noGrp="1"/>
          </p:cNvSpPr>
          <p:nvPr>
            <p:ph type="body" sz="quarter" idx="54"/>
          </p:nvPr>
        </p:nvSpPr>
        <p:spPr>
          <a:xfrm>
            <a:off x="5553855" y="3067748"/>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75" name="텍스트 개체 틀 30"/>
          <p:cNvSpPr>
            <a:spLocks noGrp="1"/>
          </p:cNvSpPr>
          <p:nvPr>
            <p:ph type="body" sz="quarter" idx="55"/>
          </p:nvPr>
        </p:nvSpPr>
        <p:spPr>
          <a:xfrm>
            <a:off x="5553855" y="2895204"/>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76" name="텍스트 개체 틀 34"/>
          <p:cNvSpPr>
            <a:spLocks noGrp="1"/>
          </p:cNvSpPr>
          <p:nvPr>
            <p:ph type="body" sz="quarter" idx="56"/>
          </p:nvPr>
        </p:nvSpPr>
        <p:spPr>
          <a:xfrm>
            <a:off x="5553855" y="3332767"/>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77" name="그림 개체 틀 7"/>
          <p:cNvSpPr>
            <a:spLocks noGrp="1"/>
          </p:cNvSpPr>
          <p:nvPr>
            <p:ph type="pic" sz="quarter" idx="57"/>
          </p:nvPr>
        </p:nvSpPr>
        <p:spPr>
          <a:xfrm>
            <a:off x="6677748" y="2895202"/>
            <a:ext cx="720000" cy="756000"/>
          </a:xfrm>
          <a:prstGeom prst="teardrop">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78" name="텍스트 개체 틀 32"/>
          <p:cNvSpPr>
            <a:spLocks noGrp="1"/>
          </p:cNvSpPr>
          <p:nvPr>
            <p:ph type="body" sz="quarter" idx="58"/>
          </p:nvPr>
        </p:nvSpPr>
        <p:spPr>
          <a:xfrm>
            <a:off x="7540628" y="3067748"/>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80" name="텍스트 개체 틀 30"/>
          <p:cNvSpPr>
            <a:spLocks noGrp="1"/>
          </p:cNvSpPr>
          <p:nvPr>
            <p:ph type="body" sz="quarter" idx="59"/>
          </p:nvPr>
        </p:nvSpPr>
        <p:spPr>
          <a:xfrm>
            <a:off x="7540628" y="2895204"/>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81" name="텍스트 개체 틀 34"/>
          <p:cNvSpPr>
            <a:spLocks noGrp="1"/>
          </p:cNvSpPr>
          <p:nvPr>
            <p:ph type="body" sz="quarter" idx="60"/>
          </p:nvPr>
        </p:nvSpPr>
        <p:spPr>
          <a:xfrm>
            <a:off x="7540628" y="3332767"/>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82" name="그림 개체 틀 7"/>
          <p:cNvSpPr>
            <a:spLocks noGrp="1"/>
          </p:cNvSpPr>
          <p:nvPr>
            <p:ph type="pic" sz="quarter" idx="61"/>
          </p:nvPr>
        </p:nvSpPr>
        <p:spPr>
          <a:xfrm>
            <a:off x="720725" y="3868182"/>
            <a:ext cx="720000" cy="756000"/>
          </a:xfrm>
          <a:prstGeom prst="teardrop">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83" name="텍스트 개체 틀 32"/>
          <p:cNvSpPr>
            <a:spLocks noGrp="1"/>
          </p:cNvSpPr>
          <p:nvPr>
            <p:ph type="body" sz="quarter" idx="62"/>
          </p:nvPr>
        </p:nvSpPr>
        <p:spPr>
          <a:xfrm>
            <a:off x="1546704" y="4040728"/>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85" name="텍스트 개체 틀 30"/>
          <p:cNvSpPr>
            <a:spLocks noGrp="1"/>
          </p:cNvSpPr>
          <p:nvPr>
            <p:ph type="body" sz="quarter" idx="63"/>
          </p:nvPr>
        </p:nvSpPr>
        <p:spPr>
          <a:xfrm>
            <a:off x="1546704" y="3868184"/>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86" name="텍스트 개체 틀 34"/>
          <p:cNvSpPr>
            <a:spLocks noGrp="1"/>
          </p:cNvSpPr>
          <p:nvPr>
            <p:ph type="body" sz="quarter" idx="64"/>
          </p:nvPr>
        </p:nvSpPr>
        <p:spPr>
          <a:xfrm>
            <a:off x="1546704" y="4305748"/>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87" name="그림 개체 틀 7"/>
          <p:cNvSpPr>
            <a:spLocks noGrp="1"/>
          </p:cNvSpPr>
          <p:nvPr>
            <p:ph type="pic" sz="quarter" idx="65"/>
          </p:nvPr>
        </p:nvSpPr>
        <p:spPr>
          <a:xfrm>
            <a:off x="2706399" y="3868182"/>
            <a:ext cx="720000" cy="756000"/>
          </a:xfrm>
          <a:prstGeom prst="teardrop">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lgn="ctr">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88" name="텍스트 개체 틀 32"/>
          <p:cNvSpPr>
            <a:spLocks noGrp="1"/>
          </p:cNvSpPr>
          <p:nvPr>
            <p:ph type="body" sz="quarter" idx="66"/>
          </p:nvPr>
        </p:nvSpPr>
        <p:spPr>
          <a:xfrm>
            <a:off x="3582220" y="4040728"/>
            <a:ext cx="900000" cy="173490"/>
          </a:xfrm>
          <a:prstGeom prst="rect">
            <a:avLst/>
          </a:prstGeom>
        </p:spPr>
        <p:txBody>
          <a:bodyPr lIns="0" tIns="0" rIns="0" bIns="0"/>
          <a:lstStyle>
            <a:lvl1pPr marL="0" indent="0" algn="l">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90" name="텍스트 개체 틀 30"/>
          <p:cNvSpPr>
            <a:spLocks noGrp="1"/>
          </p:cNvSpPr>
          <p:nvPr>
            <p:ph type="body" sz="quarter" idx="67"/>
          </p:nvPr>
        </p:nvSpPr>
        <p:spPr>
          <a:xfrm>
            <a:off x="3582220" y="3868184"/>
            <a:ext cx="900000" cy="209207"/>
          </a:xfrm>
          <a:prstGeom prst="rect">
            <a:avLst/>
          </a:prstGeom>
        </p:spPr>
        <p:txBody>
          <a:bodyPr lIns="0" tIns="0" rIns="0" bIns="0"/>
          <a:lstStyle>
            <a:lvl1pPr marL="0" indent="0" algn="l">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91" name="텍스트 개체 틀 34"/>
          <p:cNvSpPr>
            <a:spLocks noGrp="1"/>
          </p:cNvSpPr>
          <p:nvPr>
            <p:ph type="body" sz="quarter" idx="68"/>
          </p:nvPr>
        </p:nvSpPr>
        <p:spPr>
          <a:xfrm>
            <a:off x="3582220" y="4305748"/>
            <a:ext cx="900000" cy="381062"/>
          </a:xfrm>
          <a:prstGeom prst="rect">
            <a:avLst/>
          </a:prstGeom>
        </p:spPr>
        <p:txBody>
          <a:bodyPr lIns="0" tIns="0" rIns="0" bIns="0"/>
          <a:lstStyle>
            <a:lvl1pPr marL="0" indent="0" algn="l">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Members : type 5">
    <p:spTree>
      <p:nvGrpSpPr>
        <p:cNvPr id="1" name=""/>
        <p:cNvGrpSpPr/>
        <p:nvPr/>
      </p:nvGrpSpPr>
      <p:grpSpPr>
        <a:xfrm>
          <a:off x="0" y="0"/>
          <a:ext cx="0" cy="0"/>
          <a:chOff x="0" y="0"/>
          <a:chExt cx="0" cy="0"/>
        </a:xfrm>
      </p:grpSpPr>
      <p:graphicFrame>
        <p:nvGraphicFramePr>
          <p:cNvPr id="59" name="Object 289"/>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
                  <p:embed/>
                </p:oleObj>
              </mc:Choice>
              <mc:Fallback>
                <p:oleObj name="think-cell Slide" r:id="rId3" imgW="12700" imgH="12700" progId="">
                  <p:embed/>
                  <p:pic>
                    <p:nvPicPr>
                      <p:cNvPr id="0" name="Object 28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Oval 8"/>
          <p:cNvSpPr/>
          <p:nvPr userDrawn="1"/>
        </p:nvSpPr>
        <p:spPr>
          <a:xfrm flipH="1">
            <a:off x="8244254" y="4866085"/>
            <a:ext cx="211015" cy="171450"/>
          </a:xfrm>
          <a:prstGeom prst="ellipse">
            <a:avLst/>
          </a:prstGeom>
          <a:solidFill>
            <a:schemeClr val="tx2">
              <a:alpha val="25000"/>
            </a:schemeClr>
          </a:solidFill>
          <a:ln>
            <a:noFill/>
          </a:ln>
        </p:spPr>
        <p:style>
          <a:lnRef idx="2">
            <a:schemeClr val="dk1"/>
          </a:lnRef>
          <a:fillRef idx="1">
            <a:schemeClr val="lt1"/>
          </a:fillRef>
          <a:effectRef idx="0">
            <a:schemeClr val="dk1"/>
          </a:effectRef>
          <a:fontRef idx="minor">
            <a:schemeClr val="dk1"/>
          </a:fontRef>
        </p:style>
        <p:txBody>
          <a:bodyPr lIns="0" tIns="0" rIns="0" bIns="8100" anchor="ctr"/>
          <a:lstStyle/>
          <a:p>
            <a:pPr algn="ctr" eaLnBrk="1" fontAlgn="auto" latinLnBrk="1" hangingPunct="1">
              <a:spcBef>
                <a:spcPts val="0"/>
              </a:spcBef>
              <a:spcAft>
                <a:spcPts val="0"/>
              </a:spcAft>
              <a:defRPr/>
            </a:pPr>
            <a:endParaRPr lang="en-US" sz="675" dirty="0">
              <a:gradFill flip="none" rotWithShape="1">
                <a:gsLst>
                  <a:gs pos="0">
                    <a:srgbClr val="FFFFFF"/>
                  </a:gs>
                  <a:gs pos="100000">
                    <a:srgbClr val="FFFFFF"/>
                  </a:gs>
                </a:gsLst>
                <a:lin ang="0" scaled="1"/>
                <a:tileRect/>
              </a:gradFill>
              <a:latin typeface="Bebas Neue"/>
            </a:endParaRPr>
          </a:p>
        </p:txBody>
      </p:sp>
      <p:cxnSp>
        <p:nvCxnSpPr>
          <p:cNvPr id="61" name="직선 연결선 25"/>
          <p:cNvCxnSpPr/>
          <p:nvPr/>
        </p:nvCxnSpPr>
        <p:spPr>
          <a:xfrm>
            <a:off x="720969" y="742950"/>
            <a:ext cx="3238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2" name="슬라이드 번호 개체 틀 4"/>
          <p:cNvSpPr txBox="1"/>
          <p:nvPr/>
        </p:nvSpPr>
        <p:spPr>
          <a:xfrm>
            <a:off x="8127024" y="4867275"/>
            <a:ext cx="413238" cy="179785"/>
          </a:xfrm>
          <a:prstGeom prst="rect">
            <a:avLst/>
          </a:prstGeom>
        </p:spPr>
        <p:txBody>
          <a:bodyPr tIns="0" bIns="0" anchor="ctr"/>
          <a:lstStyle>
            <a:lvl1pPr eaLnBrk="0" hangingPunct="0">
              <a:defRPr>
                <a:solidFill>
                  <a:schemeClr val="tx1"/>
                </a:solidFill>
                <a:latin typeface="Arial" panose="020B0604020202020204" pitchFamily="34" charset="0"/>
                <a:ea typeface="Roboto Condensed Light"/>
                <a:cs typeface="Roboto Condensed Light"/>
              </a:defRPr>
            </a:lvl1pPr>
            <a:lvl2pPr marL="742950" indent="-285750" eaLnBrk="0" hangingPunct="0">
              <a:defRPr>
                <a:solidFill>
                  <a:schemeClr val="tx1"/>
                </a:solidFill>
                <a:latin typeface="Arial" panose="020B0604020202020204" pitchFamily="34" charset="0"/>
                <a:ea typeface="Roboto Condensed Light"/>
                <a:cs typeface="Roboto Condensed Light"/>
              </a:defRPr>
            </a:lvl2pPr>
            <a:lvl3pPr marL="1143000" indent="-228600" eaLnBrk="0" hangingPunct="0">
              <a:defRPr>
                <a:solidFill>
                  <a:schemeClr val="tx1"/>
                </a:solidFill>
                <a:latin typeface="Arial" panose="020B0604020202020204" pitchFamily="34" charset="0"/>
                <a:ea typeface="Roboto Condensed Light"/>
                <a:cs typeface="Roboto Condensed Light"/>
              </a:defRPr>
            </a:lvl3pPr>
            <a:lvl4pPr marL="1600200" indent="-228600" eaLnBrk="0" hangingPunct="0">
              <a:defRPr>
                <a:solidFill>
                  <a:schemeClr val="tx1"/>
                </a:solidFill>
                <a:latin typeface="Arial" panose="020B0604020202020204" pitchFamily="34" charset="0"/>
                <a:ea typeface="Roboto Condensed Light"/>
                <a:cs typeface="Roboto Condensed Light"/>
              </a:defRPr>
            </a:lvl4pPr>
            <a:lvl5pPr marL="2057400" indent="-228600" eaLnBrk="0" hangingPunct="0">
              <a:defRPr>
                <a:solidFill>
                  <a:schemeClr val="tx1"/>
                </a:solidFill>
                <a:latin typeface="Arial" panose="020B0604020202020204" pitchFamily="34" charset="0"/>
                <a:ea typeface="Roboto Condensed Light"/>
                <a:cs typeface="Roboto Condensed Light"/>
              </a:defRPr>
            </a:lvl5pPr>
            <a:lvl6pPr marL="25146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6pPr>
            <a:lvl7pPr marL="29718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7pPr>
            <a:lvl8pPr marL="34290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8pPr>
            <a:lvl9pPr marL="38862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9pPr>
          </a:lstStyle>
          <a:p>
            <a:pPr algn="ctr" eaLnBrk="1" latinLnBrk="1" hangingPunct="1">
              <a:defRPr/>
            </a:pPr>
            <a:fld id="{6083D1AB-372A-44A1-840B-FD05719C6966}" type="slidenum">
              <a:rPr lang="ko-KR" altLang="en-US" sz="675" b="1" smtClean="0">
                <a:solidFill>
                  <a:srgbClr val="FFFFFF"/>
                </a:solidFill>
                <a:latin typeface="Roboto Condensed Regular"/>
              </a:rPr>
            </a:fld>
            <a:endParaRPr lang="ko-KR" altLang="en-US" sz="675" b="1">
              <a:solidFill>
                <a:srgbClr val="FFFFFF"/>
              </a:solidFill>
              <a:latin typeface="Roboto Condensed Regular"/>
            </a:endParaRPr>
          </a:p>
        </p:txBody>
      </p:sp>
      <p:sp>
        <p:nvSpPr>
          <p:cNvPr id="63" name="다이아몬드 58"/>
          <p:cNvSpPr/>
          <p:nvPr userDrawn="1"/>
        </p:nvSpPr>
        <p:spPr>
          <a:xfrm>
            <a:off x="1280747" y="2308622"/>
            <a:ext cx="971550" cy="971550"/>
          </a:xfrm>
          <a:prstGeom prst="diamond">
            <a:avLst/>
          </a:prstGeom>
          <a:pattFill prst="solidDmnd">
            <a:fgClr>
              <a:schemeClr val="accent1"/>
            </a:fgClr>
            <a:bgClr>
              <a:schemeClr val="bg2"/>
            </a:bgClr>
          </a:patt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64" name="다이아몬드 59"/>
          <p:cNvSpPr/>
          <p:nvPr userDrawn="1"/>
        </p:nvSpPr>
        <p:spPr>
          <a:xfrm>
            <a:off x="2403231" y="2308622"/>
            <a:ext cx="971550" cy="971550"/>
          </a:xfrm>
          <a:prstGeom prst="diamond">
            <a:avLst/>
          </a:prstGeom>
          <a:pattFill prst="solidDmnd">
            <a:fgClr>
              <a:schemeClr val="accent1"/>
            </a:fgClr>
            <a:bgClr>
              <a:schemeClr val="bg2"/>
            </a:bgClr>
          </a:patt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65" name="다이아몬드 60"/>
          <p:cNvSpPr/>
          <p:nvPr userDrawn="1"/>
        </p:nvSpPr>
        <p:spPr>
          <a:xfrm>
            <a:off x="3524251" y="2308622"/>
            <a:ext cx="973015" cy="971550"/>
          </a:xfrm>
          <a:prstGeom prst="diamond">
            <a:avLst/>
          </a:prstGeom>
          <a:pattFill prst="solidDmnd">
            <a:fgClr>
              <a:schemeClr val="accent1"/>
            </a:fgClr>
            <a:bgClr>
              <a:schemeClr val="bg2"/>
            </a:bgClr>
          </a:patt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66" name="다이아몬드 61"/>
          <p:cNvSpPr/>
          <p:nvPr userDrawn="1"/>
        </p:nvSpPr>
        <p:spPr>
          <a:xfrm>
            <a:off x="4646735" y="2308622"/>
            <a:ext cx="973015" cy="971550"/>
          </a:xfrm>
          <a:prstGeom prst="diamond">
            <a:avLst/>
          </a:prstGeom>
          <a:pattFill prst="solidDmnd">
            <a:fgClr>
              <a:schemeClr val="accent1"/>
            </a:fgClr>
            <a:bgClr>
              <a:schemeClr val="bg2"/>
            </a:bgClr>
          </a:patt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67" name="다이아몬드 62"/>
          <p:cNvSpPr/>
          <p:nvPr userDrawn="1"/>
        </p:nvSpPr>
        <p:spPr>
          <a:xfrm>
            <a:off x="5769220" y="2308622"/>
            <a:ext cx="973015" cy="971550"/>
          </a:xfrm>
          <a:prstGeom prst="diamond">
            <a:avLst/>
          </a:prstGeom>
          <a:pattFill prst="solidDmnd">
            <a:fgClr>
              <a:schemeClr val="accent1"/>
            </a:fgClr>
            <a:bgClr>
              <a:schemeClr val="bg2"/>
            </a:bgClr>
          </a:patt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sp>
        <p:nvSpPr>
          <p:cNvPr id="68" name="다이아몬드 63"/>
          <p:cNvSpPr/>
          <p:nvPr userDrawn="1"/>
        </p:nvSpPr>
        <p:spPr>
          <a:xfrm>
            <a:off x="6891705" y="2308622"/>
            <a:ext cx="973015" cy="971550"/>
          </a:xfrm>
          <a:prstGeom prst="diamond">
            <a:avLst/>
          </a:prstGeom>
          <a:pattFill prst="solidDmnd">
            <a:fgClr>
              <a:schemeClr val="accent1"/>
            </a:fgClr>
            <a:bgClr>
              <a:schemeClr val="bg2"/>
            </a:bgClr>
          </a:patt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dirty="0">
              <a:solidFill>
                <a:srgbClr val="FFFFFF"/>
              </a:solidFill>
            </a:endParaRPr>
          </a:p>
        </p:txBody>
      </p:sp>
      <p:cxnSp>
        <p:nvCxnSpPr>
          <p:cNvPr id="69" name="직선 연결선 64"/>
          <p:cNvCxnSpPr/>
          <p:nvPr userDrawn="1"/>
        </p:nvCxnSpPr>
        <p:spPr>
          <a:xfrm>
            <a:off x="720969" y="13013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0" name="직선 연결선 65"/>
          <p:cNvCxnSpPr/>
          <p:nvPr userDrawn="1"/>
        </p:nvCxnSpPr>
        <p:spPr>
          <a:xfrm>
            <a:off x="1843454" y="13013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 name="직선 연결선 66"/>
          <p:cNvCxnSpPr/>
          <p:nvPr userDrawn="1"/>
        </p:nvCxnSpPr>
        <p:spPr>
          <a:xfrm>
            <a:off x="2968869" y="13013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 name="직선 연결선 67"/>
          <p:cNvCxnSpPr/>
          <p:nvPr userDrawn="1"/>
        </p:nvCxnSpPr>
        <p:spPr>
          <a:xfrm>
            <a:off x="4091354" y="13013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 name="직선 연결선 68"/>
          <p:cNvCxnSpPr/>
          <p:nvPr userDrawn="1"/>
        </p:nvCxnSpPr>
        <p:spPr>
          <a:xfrm>
            <a:off x="5213839" y="13013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 name="직선 연결선 69"/>
          <p:cNvCxnSpPr/>
          <p:nvPr userDrawn="1"/>
        </p:nvCxnSpPr>
        <p:spPr>
          <a:xfrm>
            <a:off x="6336323" y="13013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5" name="직선 연결선 70"/>
          <p:cNvCxnSpPr/>
          <p:nvPr userDrawn="1"/>
        </p:nvCxnSpPr>
        <p:spPr>
          <a:xfrm>
            <a:off x="7458808" y="13013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6" name="직선 연결선 71"/>
          <p:cNvCxnSpPr/>
          <p:nvPr userDrawn="1"/>
        </p:nvCxnSpPr>
        <p:spPr>
          <a:xfrm>
            <a:off x="720969"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7" name="직선 연결선 72"/>
          <p:cNvCxnSpPr/>
          <p:nvPr userDrawn="1"/>
        </p:nvCxnSpPr>
        <p:spPr>
          <a:xfrm>
            <a:off x="1843454"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8" name="직선 연결선 73"/>
          <p:cNvCxnSpPr/>
          <p:nvPr userDrawn="1"/>
        </p:nvCxnSpPr>
        <p:spPr>
          <a:xfrm>
            <a:off x="2968869"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9" name="직선 연결선 74"/>
          <p:cNvCxnSpPr/>
          <p:nvPr userDrawn="1"/>
        </p:nvCxnSpPr>
        <p:spPr>
          <a:xfrm>
            <a:off x="4091354"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 name="직선 연결선 75"/>
          <p:cNvCxnSpPr/>
          <p:nvPr userDrawn="1"/>
        </p:nvCxnSpPr>
        <p:spPr>
          <a:xfrm>
            <a:off x="5213839"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 name="직선 연결선 76"/>
          <p:cNvCxnSpPr/>
          <p:nvPr userDrawn="1"/>
        </p:nvCxnSpPr>
        <p:spPr>
          <a:xfrm>
            <a:off x="6336323"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직선 연결선 77"/>
          <p:cNvCxnSpPr/>
          <p:nvPr userDrawn="1"/>
        </p:nvCxnSpPr>
        <p:spPr>
          <a:xfrm>
            <a:off x="7458808" y="4273154"/>
            <a:ext cx="97448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그림 개체 틀 7"/>
          <p:cNvSpPr>
            <a:spLocks noGrp="1"/>
          </p:cNvSpPr>
          <p:nvPr>
            <p:ph type="pic" sz="quarter" idx="10"/>
          </p:nvPr>
        </p:nvSpPr>
        <p:spPr>
          <a:xfrm>
            <a:off x="720725" y="1756362"/>
            <a:ext cx="972000" cy="972000"/>
          </a:xfrm>
          <a:prstGeom prst="diamond">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
        <p:nvSpPr>
          <p:cNvPr id="42" name="텍스트 개체 틀 32"/>
          <p:cNvSpPr>
            <a:spLocks noGrp="1"/>
          </p:cNvSpPr>
          <p:nvPr>
            <p:ph type="body" sz="quarter" idx="15"/>
          </p:nvPr>
        </p:nvSpPr>
        <p:spPr>
          <a:xfrm>
            <a:off x="720725" y="1386560"/>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44" name="텍스트 개체 틀 30"/>
          <p:cNvSpPr>
            <a:spLocks noGrp="1"/>
          </p:cNvSpPr>
          <p:nvPr>
            <p:ph type="body" sz="quarter" idx="14"/>
          </p:nvPr>
        </p:nvSpPr>
        <p:spPr>
          <a:xfrm>
            <a:off x="720725" y="1513099"/>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45" name="텍스트 개체 틀 34"/>
          <p:cNvSpPr>
            <a:spLocks noGrp="1"/>
          </p:cNvSpPr>
          <p:nvPr>
            <p:ph type="body" sz="quarter" idx="16"/>
          </p:nvPr>
        </p:nvSpPr>
        <p:spPr>
          <a:xfrm>
            <a:off x="720725" y="846362"/>
            <a:ext cx="975298" cy="381062"/>
          </a:xfrm>
          <a:prstGeom prst="rect">
            <a:avLst/>
          </a:prstGeom>
        </p:spPr>
        <p:txBody>
          <a:bodyPr lIns="0" tIns="0" rIns="0" bIns="0" anchor="b"/>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27" name="그림 개체 틀 7"/>
          <p:cNvSpPr>
            <a:spLocks noGrp="1"/>
          </p:cNvSpPr>
          <p:nvPr>
            <p:ph type="pic" sz="quarter" idx="17"/>
          </p:nvPr>
        </p:nvSpPr>
        <p:spPr>
          <a:xfrm>
            <a:off x="1843087" y="1756362"/>
            <a:ext cx="972000" cy="972000"/>
          </a:xfrm>
          <a:prstGeom prst="diamond">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28" name="텍스트 개체 틀 32"/>
          <p:cNvSpPr>
            <a:spLocks noGrp="1"/>
          </p:cNvSpPr>
          <p:nvPr>
            <p:ph type="body" sz="quarter" idx="18"/>
          </p:nvPr>
        </p:nvSpPr>
        <p:spPr>
          <a:xfrm>
            <a:off x="1843088" y="1386560"/>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30" name="텍스트 개체 틀 30"/>
          <p:cNvSpPr>
            <a:spLocks noGrp="1"/>
          </p:cNvSpPr>
          <p:nvPr>
            <p:ph type="body" sz="quarter" idx="19"/>
          </p:nvPr>
        </p:nvSpPr>
        <p:spPr>
          <a:xfrm>
            <a:off x="1843088" y="1513099"/>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31" name="텍스트 개체 틀 34"/>
          <p:cNvSpPr>
            <a:spLocks noGrp="1"/>
          </p:cNvSpPr>
          <p:nvPr>
            <p:ph type="body" sz="quarter" idx="20"/>
          </p:nvPr>
        </p:nvSpPr>
        <p:spPr>
          <a:xfrm>
            <a:off x="1843088" y="846362"/>
            <a:ext cx="975298" cy="381062"/>
          </a:xfrm>
          <a:prstGeom prst="rect">
            <a:avLst/>
          </a:prstGeom>
        </p:spPr>
        <p:txBody>
          <a:bodyPr lIns="0" tIns="0" rIns="0" bIns="0" anchor="b"/>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32" name="그림 개체 틀 7"/>
          <p:cNvSpPr>
            <a:spLocks noGrp="1"/>
          </p:cNvSpPr>
          <p:nvPr>
            <p:ph type="pic" sz="quarter" idx="21"/>
          </p:nvPr>
        </p:nvSpPr>
        <p:spPr>
          <a:xfrm>
            <a:off x="2968747" y="1756362"/>
            <a:ext cx="972000" cy="972000"/>
          </a:xfrm>
          <a:prstGeom prst="diamond">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33" name="텍스트 개체 틀 32"/>
          <p:cNvSpPr>
            <a:spLocks noGrp="1"/>
          </p:cNvSpPr>
          <p:nvPr>
            <p:ph type="body" sz="quarter" idx="22"/>
          </p:nvPr>
        </p:nvSpPr>
        <p:spPr>
          <a:xfrm>
            <a:off x="2968747" y="1386560"/>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35" name="텍스트 개체 틀 30"/>
          <p:cNvSpPr>
            <a:spLocks noGrp="1"/>
          </p:cNvSpPr>
          <p:nvPr>
            <p:ph type="body" sz="quarter" idx="23"/>
          </p:nvPr>
        </p:nvSpPr>
        <p:spPr>
          <a:xfrm>
            <a:off x="2968747" y="1513099"/>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36" name="텍스트 개체 틀 34"/>
          <p:cNvSpPr>
            <a:spLocks noGrp="1"/>
          </p:cNvSpPr>
          <p:nvPr>
            <p:ph type="body" sz="quarter" idx="24"/>
          </p:nvPr>
        </p:nvSpPr>
        <p:spPr>
          <a:xfrm>
            <a:off x="2968747" y="846362"/>
            <a:ext cx="975298" cy="381062"/>
          </a:xfrm>
          <a:prstGeom prst="rect">
            <a:avLst/>
          </a:prstGeom>
        </p:spPr>
        <p:txBody>
          <a:bodyPr lIns="0" tIns="0" rIns="0" bIns="0" anchor="b"/>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37" name="그림 개체 틀 7"/>
          <p:cNvSpPr>
            <a:spLocks noGrp="1"/>
          </p:cNvSpPr>
          <p:nvPr>
            <p:ph type="pic" sz="quarter" idx="25"/>
          </p:nvPr>
        </p:nvSpPr>
        <p:spPr>
          <a:xfrm>
            <a:off x="4091109" y="1756362"/>
            <a:ext cx="972000" cy="972000"/>
          </a:xfrm>
          <a:prstGeom prst="diamond">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38" name="텍스트 개체 틀 32"/>
          <p:cNvSpPr>
            <a:spLocks noGrp="1"/>
          </p:cNvSpPr>
          <p:nvPr>
            <p:ph type="body" sz="quarter" idx="26"/>
          </p:nvPr>
        </p:nvSpPr>
        <p:spPr>
          <a:xfrm>
            <a:off x="4091110" y="1386560"/>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40" name="텍스트 개체 틀 30"/>
          <p:cNvSpPr>
            <a:spLocks noGrp="1"/>
          </p:cNvSpPr>
          <p:nvPr>
            <p:ph type="body" sz="quarter" idx="27"/>
          </p:nvPr>
        </p:nvSpPr>
        <p:spPr>
          <a:xfrm>
            <a:off x="4091110" y="1513099"/>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41" name="텍스트 개체 틀 34"/>
          <p:cNvSpPr>
            <a:spLocks noGrp="1"/>
          </p:cNvSpPr>
          <p:nvPr>
            <p:ph type="body" sz="quarter" idx="28"/>
          </p:nvPr>
        </p:nvSpPr>
        <p:spPr>
          <a:xfrm>
            <a:off x="4091110" y="846362"/>
            <a:ext cx="975298" cy="381062"/>
          </a:xfrm>
          <a:prstGeom prst="rect">
            <a:avLst/>
          </a:prstGeom>
        </p:spPr>
        <p:txBody>
          <a:bodyPr lIns="0" tIns="0" rIns="0" bIns="0" anchor="b"/>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42" name="그림 개체 틀 7"/>
          <p:cNvSpPr>
            <a:spLocks noGrp="1"/>
          </p:cNvSpPr>
          <p:nvPr>
            <p:ph type="pic" sz="quarter" idx="29"/>
          </p:nvPr>
        </p:nvSpPr>
        <p:spPr>
          <a:xfrm>
            <a:off x="5213472" y="1756362"/>
            <a:ext cx="972000" cy="972000"/>
          </a:xfrm>
          <a:prstGeom prst="diamond">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43" name="텍스트 개체 틀 32"/>
          <p:cNvSpPr>
            <a:spLocks noGrp="1"/>
          </p:cNvSpPr>
          <p:nvPr>
            <p:ph type="body" sz="quarter" idx="30"/>
          </p:nvPr>
        </p:nvSpPr>
        <p:spPr>
          <a:xfrm>
            <a:off x="5213473" y="1386560"/>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45" name="텍스트 개체 틀 30"/>
          <p:cNvSpPr>
            <a:spLocks noGrp="1"/>
          </p:cNvSpPr>
          <p:nvPr>
            <p:ph type="body" sz="quarter" idx="31"/>
          </p:nvPr>
        </p:nvSpPr>
        <p:spPr>
          <a:xfrm>
            <a:off x="5213473" y="1513099"/>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46" name="텍스트 개체 틀 34"/>
          <p:cNvSpPr>
            <a:spLocks noGrp="1"/>
          </p:cNvSpPr>
          <p:nvPr>
            <p:ph type="body" sz="quarter" idx="32"/>
          </p:nvPr>
        </p:nvSpPr>
        <p:spPr>
          <a:xfrm>
            <a:off x="5213473" y="846362"/>
            <a:ext cx="975298" cy="381062"/>
          </a:xfrm>
          <a:prstGeom prst="rect">
            <a:avLst/>
          </a:prstGeom>
        </p:spPr>
        <p:txBody>
          <a:bodyPr lIns="0" tIns="0" rIns="0" bIns="0" anchor="b"/>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47" name="그림 개체 틀 7"/>
          <p:cNvSpPr>
            <a:spLocks noGrp="1"/>
          </p:cNvSpPr>
          <p:nvPr>
            <p:ph type="pic" sz="quarter" idx="33"/>
          </p:nvPr>
        </p:nvSpPr>
        <p:spPr>
          <a:xfrm>
            <a:off x="6335835" y="1756362"/>
            <a:ext cx="972000" cy="972000"/>
          </a:xfrm>
          <a:prstGeom prst="diamond">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48" name="텍스트 개체 틀 32"/>
          <p:cNvSpPr>
            <a:spLocks noGrp="1"/>
          </p:cNvSpPr>
          <p:nvPr>
            <p:ph type="body" sz="quarter" idx="34"/>
          </p:nvPr>
        </p:nvSpPr>
        <p:spPr>
          <a:xfrm>
            <a:off x="6335835" y="1386560"/>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0" name="텍스트 개체 틀 30"/>
          <p:cNvSpPr>
            <a:spLocks noGrp="1"/>
          </p:cNvSpPr>
          <p:nvPr>
            <p:ph type="body" sz="quarter" idx="35"/>
          </p:nvPr>
        </p:nvSpPr>
        <p:spPr>
          <a:xfrm>
            <a:off x="6335835" y="1513099"/>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51" name="텍스트 개체 틀 34"/>
          <p:cNvSpPr>
            <a:spLocks noGrp="1"/>
          </p:cNvSpPr>
          <p:nvPr>
            <p:ph type="body" sz="quarter" idx="36"/>
          </p:nvPr>
        </p:nvSpPr>
        <p:spPr>
          <a:xfrm>
            <a:off x="6335835" y="846362"/>
            <a:ext cx="975298" cy="381062"/>
          </a:xfrm>
          <a:prstGeom prst="rect">
            <a:avLst/>
          </a:prstGeom>
        </p:spPr>
        <p:txBody>
          <a:bodyPr lIns="0" tIns="0" rIns="0" bIns="0" anchor="b"/>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52" name="그림 개체 틀 7"/>
          <p:cNvSpPr>
            <a:spLocks noGrp="1"/>
          </p:cNvSpPr>
          <p:nvPr>
            <p:ph type="pic" sz="quarter" idx="37"/>
          </p:nvPr>
        </p:nvSpPr>
        <p:spPr>
          <a:xfrm>
            <a:off x="7458198" y="1756362"/>
            <a:ext cx="972000" cy="972000"/>
          </a:xfrm>
          <a:prstGeom prst="diamond">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53" name="텍스트 개체 틀 32"/>
          <p:cNvSpPr>
            <a:spLocks noGrp="1"/>
          </p:cNvSpPr>
          <p:nvPr>
            <p:ph type="body" sz="quarter" idx="38"/>
          </p:nvPr>
        </p:nvSpPr>
        <p:spPr>
          <a:xfrm>
            <a:off x="7458198" y="1386560"/>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55" name="텍스트 개체 틀 30"/>
          <p:cNvSpPr>
            <a:spLocks noGrp="1"/>
          </p:cNvSpPr>
          <p:nvPr>
            <p:ph type="body" sz="quarter" idx="39"/>
          </p:nvPr>
        </p:nvSpPr>
        <p:spPr>
          <a:xfrm>
            <a:off x="7458198" y="1513099"/>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56" name="텍스트 개체 틀 34"/>
          <p:cNvSpPr>
            <a:spLocks noGrp="1"/>
          </p:cNvSpPr>
          <p:nvPr>
            <p:ph type="body" sz="quarter" idx="40"/>
          </p:nvPr>
        </p:nvSpPr>
        <p:spPr>
          <a:xfrm>
            <a:off x="7458198" y="846362"/>
            <a:ext cx="975298" cy="381062"/>
          </a:xfrm>
          <a:prstGeom prst="rect">
            <a:avLst/>
          </a:prstGeom>
        </p:spPr>
        <p:txBody>
          <a:bodyPr lIns="0" tIns="0" rIns="0" bIns="0" anchor="b"/>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57" name="그림 개체 틀 7"/>
          <p:cNvSpPr>
            <a:spLocks noGrp="1"/>
          </p:cNvSpPr>
          <p:nvPr>
            <p:ph type="pic" sz="quarter" idx="41"/>
          </p:nvPr>
        </p:nvSpPr>
        <p:spPr>
          <a:xfrm>
            <a:off x="720725" y="2859694"/>
            <a:ext cx="972000" cy="972000"/>
          </a:xfrm>
          <a:prstGeom prst="diamond">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58" name="텍스트 개체 틀 32"/>
          <p:cNvSpPr>
            <a:spLocks noGrp="1"/>
          </p:cNvSpPr>
          <p:nvPr>
            <p:ph type="body" sz="quarter" idx="42"/>
          </p:nvPr>
        </p:nvSpPr>
        <p:spPr>
          <a:xfrm>
            <a:off x="720725" y="4089063"/>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60" name="텍스트 개체 틀 30"/>
          <p:cNvSpPr>
            <a:spLocks noGrp="1"/>
          </p:cNvSpPr>
          <p:nvPr>
            <p:ph type="body" sz="quarter" idx="43"/>
          </p:nvPr>
        </p:nvSpPr>
        <p:spPr>
          <a:xfrm>
            <a:off x="720725" y="3916519"/>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61" name="텍스트 개체 틀 34"/>
          <p:cNvSpPr>
            <a:spLocks noGrp="1"/>
          </p:cNvSpPr>
          <p:nvPr>
            <p:ph type="body" sz="quarter" idx="44"/>
          </p:nvPr>
        </p:nvSpPr>
        <p:spPr>
          <a:xfrm>
            <a:off x="720725" y="43397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62" name="그림 개체 틀 7"/>
          <p:cNvSpPr>
            <a:spLocks noGrp="1"/>
          </p:cNvSpPr>
          <p:nvPr>
            <p:ph type="pic" sz="quarter" idx="45"/>
          </p:nvPr>
        </p:nvSpPr>
        <p:spPr>
          <a:xfrm>
            <a:off x="1843087" y="2859694"/>
            <a:ext cx="972000" cy="972000"/>
          </a:xfrm>
          <a:prstGeom prst="diamond">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63" name="텍스트 개체 틀 32"/>
          <p:cNvSpPr>
            <a:spLocks noGrp="1"/>
          </p:cNvSpPr>
          <p:nvPr>
            <p:ph type="body" sz="quarter" idx="46"/>
          </p:nvPr>
        </p:nvSpPr>
        <p:spPr>
          <a:xfrm>
            <a:off x="1843088" y="4089063"/>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65" name="텍스트 개체 틀 30"/>
          <p:cNvSpPr>
            <a:spLocks noGrp="1"/>
          </p:cNvSpPr>
          <p:nvPr>
            <p:ph type="body" sz="quarter" idx="47"/>
          </p:nvPr>
        </p:nvSpPr>
        <p:spPr>
          <a:xfrm>
            <a:off x="1843088" y="3916519"/>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66" name="텍스트 개체 틀 34"/>
          <p:cNvSpPr>
            <a:spLocks noGrp="1"/>
          </p:cNvSpPr>
          <p:nvPr>
            <p:ph type="body" sz="quarter" idx="48"/>
          </p:nvPr>
        </p:nvSpPr>
        <p:spPr>
          <a:xfrm>
            <a:off x="1843088" y="43397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67" name="그림 개체 틀 7"/>
          <p:cNvSpPr>
            <a:spLocks noGrp="1"/>
          </p:cNvSpPr>
          <p:nvPr>
            <p:ph type="pic" sz="quarter" idx="49"/>
          </p:nvPr>
        </p:nvSpPr>
        <p:spPr>
          <a:xfrm>
            <a:off x="2968747" y="2859694"/>
            <a:ext cx="972000" cy="972000"/>
          </a:xfrm>
          <a:prstGeom prst="diamond">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68" name="텍스트 개체 틀 32"/>
          <p:cNvSpPr>
            <a:spLocks noGrp="1"/>
          </p:cNvSpPr>
          <p:nvPr>
            <p:ph type="body" sz="quarter" idx="50"/>
          </p:nvPr>
        </p:nvSpPr>
        <p:spPr>
          <a:xfrm>
            <a:off x="2968747" y="4089063"/>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70" name="텍스트 개체 틀 30"/>
          <p:cNvSpPr>
            <a:spLocks noGrp="1"/>
          </p:cNvSpPr>
          <p:nvPr>
            <p:ph type="body" sz="quarter" idx="51"/>
          </p:nvPr>
        </p:nvSpPr>
        <p:spPr>
          <a:xfrm>
            <a:off x="2968747" y="3916519"/>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71" name="텍스트 개체 틀 34"/>
          <p:cNvSpPr>
            <a:spLocks noGrp="1"/>
          </p:cNvSpPr>
          <p:nvPr>
            <p:ph type="body" sz="quarter" idx="52"/>
          </p:nvPr>
        </p:nvSpPr>
        <p:spPr>
          <a:xfrm>
            <a:off x="2968747" y="43397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72" name="그림 개체 틀 7"/>
          <p:cNvSpPr>
            <a:spLocks noGrp="1"/>
          </p:cNvSpPr>
          <p:nvPr>
            <p:ph type="pic" sz="quarter" idx="53"/>
          </p:nvPr>
        </p:nvSpPr>
        <p:spPr>
          <a:xfrm>
            <a:off x="4091109" y="2859694"/>
            <a:ext cx="972000" cy="972000"/>
          </a:xfrm>
          <a:prstGeom prst="diamond">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73" name="텍스트 개체 틀 32"/>
          <p:cNvSpPr>
            <a:spLocks noGrp="1"/>
          </p:cNvSpPr>
          <p:nvPr>
            <p:ph type="body" sz="quarter" idx="54"/>
          </p:nvPr>
        </p:nvSpPr>
        <p:spPr>
          <a:xfrm>
            <a:off x="4091110" y="4089063"/>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75" name="텍스트 개체 틀 30"/>
          <p:cNvSpPr>
            <a:spLocks noGrp="1"/>
          </p:cNvSpPr>
          <p:nvPr>
            <p:ph type="body" sz="quarter" idx="55"/>
          </p:nvPr>
        </p:nvSpPr>
        <p:spPr>
          <a:xfrm>
            <a:off x="4091110" y="3916519"/>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76" name="텍스트 개체 틀 34"/>
          <p:cNvSpPr>
            <a:spLocks noGrp="1"/>
          </p:cNvSpPr>
          <p:nvPr>
            <p:ph type="body" sz="quarter" idx="56"/>
          </p:nvPr>
        </p:nvSpPr>
        <p:spPr>
          <a:xfrm>
            <a:off x="4091110" y="43397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77" name="그림 개체 틀 7"/>
          <p:cNvSpPr>
            <a:spLocks noGrp="1"/>
          </p:cNvSpPr>
          <p:nvPr>
            <p:ph type="pic" sz="quarter" idx="57"/>
          </p:nvPr>
        </p:nvSpPr>
        <p:spPr>
          <a:xfrm>
            <a:off x="5213472" y="2859694"/>
            <a:ext cx="972000" cy="972000"/>
          </a:xfrm>
          <a:prstGeom prst="diamond">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78" name="텍스트 개체 틀 32"/>
          <p:cNvSpPr>
            <a:spLocks noGrp="1"/>
          </p:cNvSpPr>
          <p:nvPr>
            <p:ph type="body" sz="quarter" idx="58"/>
          </p:nvPr>
        </p:nvSpPr>
        <p:spPr>
          <a:xfrm>
            <a:off x="5213473" y="4089063"/>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80" name="텍스트 개체 틀 30"/>
          <p:cNvSpPr>
            <a:spLocks noGrp="1"/>
          </p:cNvSpPr>
          <p:nvPr>
            <p:ph type="body" sz="quarter" idx="59"/>
          </p:nvPr>
        </p:nvSpPr>
        <p:spPr>
          <a:xfrm>
            <a:off x="5213473" y="3916519"/>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81" name="텍스트 개체 틀 34"/>
          <p:cNvSpPr>
            <a:spLocks noGrp="1"/>
          </p:cNvSpPr>
          <p:nvPr>
            <p:ph type="body" sz="quarter" idx="60"/>
          </p:nvPr>
        </p:nvSpPr>
        <p:spPr>
          <a:xfrm>
            <a:off x="5213473" y="43397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82" name="그림 개체 틀 7"/>
          <p:cNvSpPr>
            <a:spLocks noGrp="1"/>
          </p:cNvSpPr>
          <p:nvPr>
            <p:ph type="pic" sz="quarter" idx="61"/>
          </p:nvPr>
        </p:nvSpPr>
        <p:spPr>
          <a:xfrm>
            <a:off x="6335835" y="2859694"/>
            <a:ext cx="972000" cy="972000"/>
          </a:xfrm>
          <a:prstGeom prst="diamond">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83" name="텍스트 개체 틀 32"/>
          <p:cNvSpPr>
            <a:spLocks noGrp="1"/>
          </p:cNvSpPr>
          <p:nvPr>
            <p:ph type="body" sz="quarter" idx="62"/>
          </p:nvPr>
        </p:nvSpPr>
        <p:spPr>
          <a:xfrm>
            <a:off x="6335835" y="4089063"/>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85" name="텍스트 개체 틀 30"/>
          <p:cNvSpPr>
            <a:spLocks noGrp="1"/>
          </p:cNvSpPr>
          <p:nvPr>
            <p:ph type="body" sz="quarter" idx="63"/>
          </p:nvPr>
        </p:nvSpPr>
        <p:spPr>
          <a:xfrm>
            <a:off x="6335835" y="3916519"/>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86" name="텍스트 개체 틀 34"/>
          <p:cNvSpPr>
            <a:spLocks noGrp="1"/>
          </p:cNvSpPr>
          <p:nvPr>
            <p:ph type="body" sz="quarter" idx="64"/>
          </p:nvPr>
        </p:nvSpPr>
        <p:spPr>
          <a:xfrm>
            <a:off x="6335835" y="43397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
        <p:nvSpPr>
          <p:cNvPr id="187" name="그림 개체 틀 7"/>
          <p:cNvSpPr>
            <a:spLocks noGrp="1"/>
          </p:cNvSpPr>
          <p:nvPr>
            <p:ph type="pic" sz="quarter" idx="65"/>
          </p:nvPr>
        </p:nvSpPr>
        <p:spPr>
          <a:xfrm>
            <a:off x="7458198" y="2859694"/>
            <a:ext cx="972000" cy="972000"/>
          </a:xfrm>
          <a:prstGeom prst="diamond">
            <a:avLst/>
          </a:prstGeom>
          <a:solidFill>
            <a:schemeClr val="bg2">
              <a:lumMod val="85000"/>
            </a:scheme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257175" indent="-257175">
              <a:buNone/>
              <a:defRPr lang="ko-KR" altLang="en-US" sz="600" dirty="0">
                <a:solidFill>
                  <a:schemeClr val="bg1">
                    <a:lumMod val="65000"/>
                  </a:schemeClr>
                </a:solidFill>
              </a:defRPr>
            </a:lvl1pPr>
          </a:lstStyle>
          <a:p>
            <a:pPr lvl="0"/>
            <a:r>
              <a:rPr lang="en-US" altLang="ko-KR" noProof="0"/>
              <a:t>Click icon to add picture</a:t>
            </a:r>
            <a:endParaRPr lang="ko-KR" altLang="en-US" noProof="0" dirty="0"/>
          </a:p>
        </p:txBody>
      </p:sp>
      <p:sp>
        <p:nvSpPr>
          <p:cNvPr id="188" name="텍스트 개체 틀 32"/>
          <p:cNvSpPr>
            <a:spLocks noGrp="1"/>
          </p:cNvSpPr>
          <p:nvPr>
            <p:ph type="body" sz="quarter" idx="66"/>
          </p:nvPr>
        </p:nvSpPr>
        <p:spPr>
          <a:xfrm>
            <a:off x="7458198" y="4089063"/>
            <a:ext cx="975298" cy="173490"/>
          </a:xfrm>
          <a:prstGeom prst="rect">
            <a:avLst/>
          </a:prstGeom>
        </p:spPr>
        <p:txBody>
          <a:bodyPr lIns="0" tIns="0" rIns="0" bIns="0"/>
          <a:lstStyle>
            <a:lvl1pPr marL="0" indent="0" algn="ctr">
              <a:buFont typeface="Arial" panose="020B0604020202020204" pitchFamily="34" charset="0"/>
              <a:buNone/>
              <a:defRPr lang="ko-KR" altLang="en-US" sz="525" kern="1200" dirty="0">
                <a:gradFill>
                  <a:gsLst>
                    <a:gs pos="0">
                      <a:schemeClr val="accent1"/>
                    </a:gs>
                    <a:gs pos="100000">
                      <a:schemeClr val="accent1"/>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190" name="텍스트 개체 틀 30"/>
          <p:cNvSpPr>
            <a:spLocks noGrp="1"/>
          </p:cNvSpPr>
          <p:nvPr>
            <p:ph type="body" sz="quarter" idx="67"/>
          </p:nvPr>
        </p:nvSpPr>
        <p:spPr>
          <a:xfrm>
            <a:off x="7458198" y="3916519"/>
            <a:ext cx="975298" cy="209207"/>
          </a:xfrm>
          <a:prstGeom prst="rect">
            <a:avLst/>
          </a:prstGeom>
        </p:spPr>
        <p:txBody>
          <a:bodyPr lIns="0" tIns="0" rIns="0" bIns="0"/>
          <a:lstStyle>
            <a:lvl1pPr marL="0" indent="0" algn="ctr">
              <a:buFont typeface="Arial" panose="020B0604020202020204" pitchFamily="34" charset="0"/>
              <a:buNone/>
              <a:defRPr lang="ko-KR" altLang="en-US" sz="750" b="1" kern="1200" dirty="0">
                <a:gradFill>
                  <a:gsLst>
                    <a:gs pos="0">
                      <a:schemeClr val="tx2"/>
                    </a:gs>
                    <a:gs pos="100000">
                      <a:schemeClr val="tx2"/>
                    </a:gs>
                  </a:gsLst>
                  <a:lin ang="5400000" scaled="0"/>
                </a:gradFill>
                <a:latin typeface="Roboto Condensed Regular"/>
                <a:ea typeface="Roboto Light" pitchFamily="2" charset="0"/>
                <a:cs typeface="Roboto Condensed Regular"/>
              </a:defRPr>
            </a:lvl1pPr>
            <a:lvl2pPr marL="342900" indent="0">
              <a:buNone/>
              <a:defRPr sz="375"/>
            </a:lvl2pPr>
            <a:lvl3pPr marL="685800" indent="0">
              <a:buNone/>
              <a:defRPr sz="375"/>
            </a:lvl3pPr>
            <a:lvl4pPr marL="1028700" indent="0">
              <a:buNone/>
              <a:defRPr sz="375"/>
            </a:lvl4pPr>
            <a:lvl5pPr marL="1371600" indent="0">
              <a:buNone/>
              <a:defRPr sz="375"/>
            </a:lvl5pPr>
          </a:lstStyle>
          <a:p>
            <a:pPr lvl="0"/>
            <a:r>
              <a:rPr lang="en-US" altLang="ko-KR"/>
              <a:t>Click to edit Master text styles</a:t>
            </a:r>
            <a:endParaRPr lang="en-US" altLang="ko-KR"/>
          </a:p>
        </p:txBody>
      </p:sp>
      <p:sp>
        <p:nvSpPr>
          <p:cNvPr id="191" name="텍스트 개체 틀 34"/>
          <p:cNvSpPr>
            <a:spLocks noGrp="1"/>
          </p:cNvSpPr>
          <p:nvPr>
            <p:ph type="body" sz="quarter" idx="68"/>
          </p:nvPr>
        </p:nvSpPr>
        <p:spPr>
          <a:xfrm>
            <a:off x="7458198" y="4339795"/>
            <a:ext cx="975298" cy="381062"/>
          </a:xfrm>
          <a:prstGeom prst="rect">
            <a:avLst/>
          </a:prstGeom>
        </p:spPr>
        <p:txBody>
          <a:bodyPr lIns="0" tIns="0" rIns="0" bIns="0"/>
          <a:lstStyle>
            <a:lvl1pPr marL="0" indent="0" algn="ctr">
              <a:buFont typeface="Arial" panose="020B0604020202020204" pitchFamily="34" charset="0"/>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vl2pPr marL="3429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2pPr>
            <a:lvl3pPr marL="6858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3pPr>
            <a:lvl4pPr marL="1028700" indent="0" algn="l">
              <a:buNone/>
              <a:defRPr lang="ko-KR" altLang="en-US" sz="525" kern="1200" dirty="0" smtClean="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4pPr>
            <a:lvl5pPr marL="1371600" indent="0" algn="l">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5pPr>
          </a:lstStyle>
          <a:p>
            <a:pPr lvl="0"/>
            <a:r>
              <a:rPr lang="en-US" altLang="ko-KR"/>
              <a:t>Click to edit Master text styles</a:t>
            </a:r>
            <a:endParaRPr lang="en-US" altLang="ko-K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grpId="0" nodeType="withEffect">
                                  <p:stCondLst>
                                    <p:cond delay="0"/>
                                  </p:stCondLst>
                                  <p:childTnLst>
                                    <p:set>
                                      <p:cBhvr>
                                        <p:cTn id="6" dur="1" fill="hold">
                                          <p:stCondLst>
                                            <p:cond delay="0"/>
                                          </p:stCondLst>
                                        </p:cTn>
                                        <p:tgtEl>
                                          <p:spTgt spid="63"/>
                                        </p:tgtEl>
                                        <p:attrNameLst>
                                          <p:attrName>style.visibility</p:attrName>
                                        </p:attrNameLst>
                                      </p:cBhvr>
                                      <p:to>
                                        <p:strVal val="visible"/>
                                      </p:to>
                                    </p:set>
                                    <p:anim calcmode="lin" valueType="num">
                                      <p:cBhvr>
                                        <p:cTn id="7" dur="500" fill="hold"/>
                                        <p:tgtEl>
                                          <p:spTgt spid="63"/>
                                        </p:tgtEl>
                                        <p:attrNameLst>
                                          <p:attrName>ppt_w</p:attrName>
                                        </p:attrNameLst>
                                      </p:cBhvr>
                                      <p:tavLst>
                                        <p:tav tm="0">
                                          <p:val>
                                            <p:fltVal val="0"/>
                                          </p:val>
                                        </p:tav>
                                        <p:tav tm="100000">
                                          <p:val>
                                            <p:strVal val="#ppt_w"/>
                                          </p:val>
                                        </p:tav>
                                      </p:tavLst>
                                    </p:anim>
                                    <p:anim calcmode="lin" valueType="num">
                                      <p:cBhvr>
                                        <p:cTn id="8" dur="500" fill="hold"/>
                                        <p:tgtEl>
                                          <p:spTgt spid="63"/>
                                        </p:tgtEl>
                                        <p:attrNameLst>
                                          <p:attrName>ppt_h</p:attrName>
                                        </p:attrNameLst>
                                      </p:cBhvr>
                                      <p:tavLst>
                                        <p:tav tm="0">
                                          <p:val>
                                            <p:strVal val="#ppt_h"/>
                                          </p:val>
                                        </p:tav>
                                        <p:tav tm="100000">
                                          <p:val>
                                            <p:strVal val="#ppt_h"/>
                                          </p:val>
                                        </p:tav>
                                      </p:tavLst>
                                    </p:anim>
                                  </p:childTnLst>
                                </p:cTn>
                              </p:par>
                              <p:par>
                                <p:cTn id="9" presetID="17" presetClass="entr" presetSubtype="10" fill="hold" nodeType="withEffect">
                                  <p:stCondLst>
                                    <p:cond delay="0"/>
                                  </p:stCondLst>
                                  <p:childTnLst>
                                    <p:set>
                                      <p:cBhvr>
                                        <p:cTn id="10" dur="1" fill="hold">
                                          <p:stCondLst>
                                            <p:cond delay="0"/>
                                          </p:stCondLst>
                                        </p:cTn>
                                        <p:tgtEl>
                                          <p:spTgt spid="64"/>
                                        </p:tgtEl>
                                        <p:attrNameLst>
                                          <p:attrName>style.visibility</p:attrName>
                                        </p:attrNameLst>
                                      </p:cBhvr>
                                      <p:to>
                                        <p:strVal val="visible"/>
                                      </p:to>
                                    </p:set>
                                    <p:anim calcmode="lin" valueType="num">
                                      <p:cBhvr>
                                        <p:cTn id="11" dur="500" fill="hold"/>
                                        <p:tgtEl>
                                          <p:spTgt spid="64"/>
                                        </p:tgtEl>
                                        <p:attrNameLst>
                                          <p:attrName>ppt_w</p:attrName>
                                        </p:attrNameLst>
                                      </p:cBhvr>
                                      <p:tavLst>
                                        <p:tav tm="0">
                                          <p:val>
                                            <p:fltVal val="0"/>
                                          </p:val>
                                        </p:tav>
                                        <p:tav tm="100000">
                                          <p:val>
                                            <p:strVal val="#ppt_w"/>
                                          </p:val>
                                        </p:tav>
                                      </p:tavLst>
                                    </p:anim>
                                    <p:anim calcmode="lin" valueType="num">
                                      <p:cBhvr>
                                        <p:cTn id="12" dur="500" fill="hold"/>
                                        <p:tgtEl>
                                          <p:spTgt spid="64"/>
                                        </p:tgtEl>
                                        <p:attrNameLst>
                                          <p:attrName>ppt_h</p:attrName>
                                        </p:attrNameLst>
                                      </p:cBhvr>
                                      <p:tavLst>
                                        <p:tav tm="0">
                                          <p:val>
                                            <p:strVal val="#ppt_h"/>
                                          </p:val>
                                        </p:tav>
                                        <p:tav tm="100000">
                                          <p:val>
                                            <p:strVal val="#ppt_h"/>
                                          </p:val>
                                        </p:tav>
                                      </p:tavLst>
                                    </p:anim>
                                  </p:childTnLst>
                                </p:cTn>
                              </p:par>
                              <p:par>
                                <p:cTn id="13" presetID="17" presetClass="entr" presetSubtype="10" fill="hold" nodeType="withEffect">
                                  <p:stCondLst>
                                    <p:cond delay="0"/>
                                  </p:stCondLst>
                                  <p:childTnLst>
                                    <p:set>
                                      <p:cBhvr>
                                        <p:cTn id="14" dur="1" fill="hold">
                                          <p:stCondLst>
                                            <p:cond delay="0"/>
                                          </p:stCondLst>
                                        </p:cTn>
                                        <p:tgtEl>
                                          <p:spTgt spid="65"/>
                                        </p:tgtEl>
                                        <p:attrNameLst>
                                          <p:attrName>style.visibility</p:attrName>
                                        </p:attrNameLst>
                                      </p:cBhvr>
                                      <p:to>
                                        <p:strVal val="visible"/>
                                      </p:to>
                                    </p:set>
                                    <p:anim calcmode="lin" valueType="num">
                                      <p:cBhvr>
                                        <p:cTn id="15" dur="500" fill="hold"/>
                                        <p:tgtEl>
                                          <p:spTgt spid="65"/>
                                        </p:tgtEl>
                                        <p:attrNameLst>
                                          <p:attrName>ppt_w</p:attrName>
                                        </p:attrNameLst>
                                      </p:cBhvr>
                                      <p:tavLst>
                                        <p:tav tm="0">
                                          <p:val>
                                            <p:fltVal val="0"/>
                                          </p:val>
                                        </p:tav>
                                        <p:tav tm="100000">
                                          <p:val>
                                            <p:strVal val="#ppt_w"/>
                                          </p:val>
                                        </p:tav>
                                      </p:tavLst>
                                    </p:anim>
                                    <p:anim calcmode="lin" valueType="num">
                                      <p:cBhvr>
                                        <p:cTn id="16" dur="500" fill="hold"/>
                                        <p:tgtEl>
                                          <p:spTgt spid="65"/>
                                        </p:tgtEl>
                                        <p:attrNameLst>
                                          <p:attrName>ppt_h</p:attrName>
                                        </p:attrNameLst>
                                      </p:cBhvr>
                                      <p:tavLst>
                                        <p:tav tm="0">
                                          <p:val>
                                            <p:strVal val="#ppt_h"/>
                                          </p:val>
                                        </p:tav>
                                        <p:tav tm="100000">
                                          <p:val>
                                            <p:strVal val="#ppt_h"/>
                                          </p:val>
                                        </p:tav>
                                      </p:tavLst>
                                    </p:anim>
                                  </p:childTnLst>
                                </p:cTn>
                              </p:par>
                              <p:par>
                                <p:cTn id="17" presetID="17" presetClass="entr" presetSubtype="10" fill="hold" nodeType="withEffect">
                                  <p:stCondLst>
                                    <p:cond delay="0"/>
                                  </p:stCondLst>
                                  <p:childTnLst>
                                    <p:set>
                                      <p:cBhvr>
                                        <p:cTn id="18" dur="1" fill="hold">
                                          <p:stCondLst>
                                            <p:cond delay="0"/>
                                          </p:stCondLst>
                                        </p:cTn>
                                        <p:tgtEl>
                                          <p:spTgt spid="66"/>
                                        </p:tgtEl>
                                        <p:attrNameLst>
                                          <p:attrName>style.visibility</p:attrName>
                                        </p:attrNameLst>
                                      </p:cBhvr>
                                      <p:to>
                                        <p:strVal val="visible"/>
                                      </p:to>
                                    </p:set>
                                    <p:anim calcmode="lin" valueType="num">
                                      <p:cBhvr>
                                        <p:cTn id="19" dur="500" fill="hold"/>
                                        <p:tgtEl>
                                          <p:spTgt spid="66"/>
                                        </p:tgtEl>
                                        <p:attrNameLst>
                                          <p:attrName>ppt_w</p:attrName>
                                        </p:attrNameLst>
                                      </p:cBhvr>
                                      <p:tavLst>
                                        <p:tav tm="0">
                                          <p:val>
                                            <p:fltVal val="0"/>
                                          </p:val>
                                        </p:tav>
                                        <p:tav tm="100000">
                                          <p:val>
                                            <p:strVal val="#ppt_w"/>
                                          </p:val>
                                        </p:tav>
                                      </p:tavLst>
                                    </p:anim>
                                    <p:anim calcmode="lin" valueType="num">
                                      <p:cBhvr>
                                        <p:cTn id="20" dur="500" fill="hold"/>
                                        <p:tgtEl>
                                          <p:spTgt spid="66"/>
                                        </p:tgtEl>
                                        <p:attrNameLst>
                                          <p:attrName>ppt_h</p:attrName>
                                        </p:attrNameLst>
                                      </p:cBhvr>
                                      <p:tavLst>
                                        <p:tav tm="0">
                                          <p:val>
                                            <p:strVal val="#ppt_h"/>
                                          </p:val>
                                        </p:tav>
                                        <p:tav tm="100000">
                                          <p:val>
                                            <p:strVal val="#ppt_h"/>
                                          </p:val>
                                        </p:tav>
                                      </p:tavLst>
                                    </p:anim>
                                  </p:childTnLst>
                                </p:cTn>
                              </p:par>
                              <p:par>
                                <p:cTn id="21" presetID="17" presetClass="entr" presetSubtype="10" fill="hold" nodeType="withEffect">
                                  <p:stCondLst>
                                    <p:cond delay="0"/>
                                  </p:stCondLst>
                                  <p:childTnLst>
                                    <p:set>
                                      <p:cBhvr>
                                        <p:cTn id="22" dur="1" fill="hold">
                                          <p:stCondLst>
                                            <p:cond delay="0"/>
                                          </p:stCondLst>
                                        </p:cTn>
                                        <p:tgtEl>
                                          <p:spTgt spid="67"/>
                                        </p:tgtEl>
                                        <p:attrNameLst>
                                          <p:attrName>style.visibility</p:attrName>
                                        </p:attrNameLst>
                                      </p:cBhvr>
                                      <p:to>
                                        <p:strVal val="visible"/>
                                      </p:to>
                                    </p:set>
                                    <p:anim calcmode="lin" valueType="num">
                                      <p:cBhvr>
                                        <p:cTn id="23" dur="500" fill="hold"/>
                                        <p:tgtEl>
                                          <p:spTgt spid="67"/>
                                        </p:tgtEl>
                                        <p:attrNameLst>
                                          <p:attrName>ppt_w</p:attrName>
                                        </p:attrNameLst>
                                      </p:cBhvr>
                                      <p:tavLst>
                                        <p:tav tm="0">
                                          <p:val>
                                            <p:fltVal val="0"/>
                                          </p:val>
                                        </p:tav>
                                        <p:tav tm="100000">
                                          <p:val>
                                            <p:strVal val="#ppt_w"/>
                                          </p:val>
                                        </p:tav>
                                      </p:tavLst>
                                    </p:anim>
                                    <p:anim calcmode="lin" valueType="num">
                                      <p:cBhvr>
                                        <p:cTn id="24" dur="500" fill="hold"/>
                                        <p:tgtEl>
                                          <p:spTgt spid="67"/>
                                        </p:tgtEl>
                                        <p:attrNameLst>
                                          <p:attrName>ppt_h</p:attrName>
                                        </p:attrNameLst>
                                      </p:cBhvr>
                                      <p:tavLst>
                                        <p:tav tm="0">
                                          <p:val>
                                            <p:strVal val="#ppt_h"/>
                                          </p:val>
                                        </p:tav>
                                        <p:tav tm="100000">
                                          <p:val>
                                            <p:strVal val="#ppt_h"/>
                                          </p:val>
                                        </p:tav>
                                      </p:tavLst>
                                    </p:anim>
                                  </p:childTnLst>
                                </p:cTn>
                              </p:par>
                              <p:par>
                                <p:cTn id="25" presetID="17" presetClass="entr" presetSubtype="10" fill="hold"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Member Profile ">
    <p:bg>
      <p:bgPr>
        <a:solidFill>
          <a:srgbClr val="D9D9D9"/>
        </a:solidFill>
        <a:effectLst/>
      </p:bgPr>
    </p:bg>
    <p:spTree>
      <p:nvGrpSpPr>
        <p:cNvPr id="1" name=""/>
        <p:cNvGrpSpPr/>
        <p:nvPr/>
      </p:nvGrpSpPr>
      <p:grpSpPr>
        <a:xfrm>
          <a:off x="0" y="0"/>
          <a:ext cx="0" cy="0"/>
          <a:chOff x="0" y="0"/>
          <a:chExt cx="0" cy="0"/>
        </a:xfrm>
      </p:grpSpPr>
      <p:sp>
        <p:nvSpPr>
          <p:cNvPr id="6" name="자유형 3"/>
          <p:cNvSpPr/>
          <p:nvPr userDrawn="1"/>
        </p:nvSpPr>
        <p:spPr>
          <a:xfrm>
            <a:off x="8244254" y="339328"/>
            <a:ext cx="180243" cy="180975"/>
          </a:xfrm>
          <a:custGeom>
            <a:avLst/>
            <a:gdLst>
              <a:gd name="connsiteX0" fmla="*/ 47410 w 180020"/>
              <a:gd name="connsiteY0" fmla="*/ 109200 h 180020"/>
              <a:gd name="connsiteX1" fmla="*/ 47410 w 180020"/>
              <a:gd name="connsiteY1" fmla="*/ 120154 h 180020"/>
              <a:gd name="connsiteX2" fmla="*/ 132611 w 180020"/>
              <a:gd name="connsiteY2" fmla="*/ 120154 h 180020"/>
              <a:gd name="connsiteX3" fmla="*/ 132611 w 180020"/>
              <a:gd name="connsiteY3" fmla="*/ 109200 h 180020"/>
              <a:gd name="connsiteX4" fmla="*/ 47410 w 180020"/>
              <a:gd name="connsiteY4" fmla="*/ 84533 h 180020"/>
              <a:gd name="connsiteX5" fmla="*/ 47410 w 180020"/>
              <a:gd name="connsiteY5" fmla="*/ 95487 h 180020"/>
              <a:gd name="connsiteX6" fmla="*/ 132611 w 180020"/>
              <a:gd name="connsiteY6" fmla="*/ 95487 h 180020"/>
              <a:gd name="connsiteX7" fmla="*/ 132611 w 180020"/>
              <a:gd name="connsiteY7" fmla="*/ 84533 h 180020"/>
              <a:gd name="connsiteX8" fmla="*/ 47410 w 180020"/>
              <a:gd name="connsiteY8" fmla="*/ 59866 h 180020"/>
              <a:gd name="connsiteX9" fmla="*/ 47410 w 180020"/>
              <a:gd name="connsiteY9" fmla="*/ 70820 h 180020"/>
              <a:gd name="connsiteX10" fmla="*/ 132611 w 180020"/>
              <a:gd name="connsiteY10" fmla="*/ 70820 h 180020"/>
              <a:gd name="connsiteX11" fmla="*/ 132611 w 180020"/>
              <a:gd name="connsiteY11" fmla="*/ 59866 h 180020"/>
              <a:gd name="connsiteX12" fmla="*/ 90010 w 180020"/>
              <a:gd name="connsiteY12" fmla="*/ 0 h 180020"/>
              <a:gd name="connsiteX13" fmla="*/ 180020 w 180020"/>
              <a:gd name="connsiteY13" fmla="*/ 90010 h 180020"/>
              <a:gd name="connsiteX14" fmla="*/ 90010 w 180020"/>
              <a:gd name="connsiteY14" fmla="*/ 180020 h 180020"/>
              <a:gd name="connsiteX15" fmla="*/ 0 w 180020"/>
              <a:gd name="connsiteY15" fmla="*/ 90010 h 180020"/>
              <a:gd name="connsiteX16" fmla="*/ 90010 w 180020"/>
              <a:gd name="connsiteY16" fmla="*/ 0 h 18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020" h="180020">
                <a:moveTo>
                  <a:pt x="47410" y="109200"/>
                </a:moveTo>
                <a:lnTo>
                  <a:pt x="47410" y="120154"/>
                </a:lnTo>
                <a:lnTo>
                  <a:pt x="132611" y="120154"/>
                </a:lnTo>
                <a:lnTo>
                  <a:pt x="132611" y="109200"/>
                </a:lnTo>
                <a:close/>
                <a:moveTo>
                  <a:pt x="47410" y="84533"/>
                </a:moveTo>
                <a:lnTo>
                  <a:pt x="47410" y="95487"/>
                </a:lnTo>
                <a:lnTo>
                  <a:pt x="132611" y="95487"/>
                </a:lnTo>
                <a:lnTo>
                  <a:pt x="132611" y="84533"/>
                </a:lnTo>
                <a:close/>
                <a:moveTo>
                  <a:pt x="47410" y="59866"/>
                </a:moveTo>
                <a:lnTo>
                  <a:pt x="47410" y="70820"/>
                </a:lnTo>
                <a:lnTo>
                  <a:pt x="132611" y="70820"/>
                </a:lnTo>
                <a:lnTo>
                  <a:pt x="132611" y="59866"/>
                </a:lnTo>
                <a:close/>
                <a:moveTo>
                  <a:pt x="90010" y="0"/>
                </a:moveTo>
                <a:cubicBezTo>
                  <a:pt x="139721" y="0"/>
                  <a:pt x="180020" y="40299"/>
                  <a:pt x="180020" y="90010"/>
                </a:cubicBezTo>
                <a:cubicBezTo>
                  <a:pt x="180020" y="139721"/>
                  <a:pt x="139721" y="180020"/>
                  <a:pt x="90010" y="180020"/>
                </a:cubicBezTo>
                <a:cubicBezTo>
                  <a:pt x="40299" y="180020"/>
                  <a:pt x="0" y="139721"/>
                  <a:pt x="0" y="90010"/>
                </a:cubicBezTo>
                <a:cubicBezTo>
                  <a:pt x="0" y="40299"/>
                  <a:pt x="40299" y="0"/>
                  <a:pt x="90010" y="0"/>
                </a:cubicBezTo>
                <a:close/>
              </a:path>
            </a:pathLst>
          </a:custGeom>
          <a:solidFill>
            <a:schemeClr val="accent3"/>
          </a:solidFill>
          <a:ln>
            <a:noFill/>
          </a:ln>
        </p:spPr>
        <p:style>
          <a:lnRef idx="2">
            <a:schemeClr val="dk1"/>
          </a:lnRef>
          <a:fillRef idx="1">
            <a:schemeClr val="lt1"/>
          </a:fillRef>
          <a:effectRef idx="0">
            <a:schemeClr val="dk1"/>
          </a:effectRef>
          <a:fontRef idx="minor">
            <a:schemeClr val="dk1"/>
          </a:fontRef>
        </p:style>
        <p:txBody>
          <a:bodyPr anchor="ctr"/>
          <a:lstStyle/>
          <a:p>
            <a:pPr algn="ctr" eaLnBrk="1" fontAlgn="auto" latinLnBrk="1" hangingPunct="1">
              <a:spcBef>
                <a:spcPts val="0"/>
              </a:spcBef>
              <a:spcAft>
                <a:spcPts val="0"/>
              </a:spcAft>
              <a:defRPr/>
            </a:pPr>
            <a:endParaRPr lang="en-US" dirty="0">
              <a:solidFill>
                <a:srgbClr val="000000"/>
              </a:solidFill>
            </a:endParaRPr>
          </a:p>
        </p:txBody>
      </p:sp>
      <p:sp>
        <p:nvSpPr>
          <p:cNvPr id="7" name="자유형 4">
            <a:hlinkClick r:id="" action="ppaction://hlinkshowjump?jump=nextslide"/>
          </p:cNvPr>
          <p:cNvSpPr/>
          <p:nvPr userDrawn="1"/>
        </p:nvSpPr>
        <p:spPr>
          <a:xfrm>
            <a:off x="8037635" y="339328"/>
            <a:ext cx="180242" cy="180975"/>
          </a:xfrm>
          <a:custGeom>
            <a:avLst/>
            <a:gdLst>
              <a:gd name="connsiteX0" fmla="*/ 70888 w 180020"/>
              <a:gd name="connsiteY0" fmla="*/ 36035 h 180020"/>
              <a:gd name="connsiteX1" fmla="*/ 70888 w 180020"/>
              <a:gd name="connsiteY1" fmla="*/ 53498 h 180020"/>
              <a:gd name="connsiteX2" fmla="*/ 115338 w 180020"/>
              <a:gd name="connsiteY2" fmla="*/ 90010 h 180020"/>
              <a:gd name="connsiteX3" fmla="*/ 70888 w 180020"/>
              <a:gd name="connsiteY3" fmla="*/ 126523 h 180020"/>
              <a:gd name="connsiteX4" fmla="*/ 70888 w 180020"/>
              <a:gd name="connsiteY4" fmla="*/ 143985 h 180020"/>
              <a:gd name="connsiteX5" fmla="*/ 135975 w 180020"/>
              <a:gd name="connsiteY5" fmla="*/ 90010 h 180020"/>
              <a:gd name="connsiteX6" fmla="*/ 90010 w 180020"/>
              <a:gd name="connsiteY6" fmla="*/ 0 h 180020"/>
              <a:gd name="connsiteX7" fmla="*/ 180020 w 180020"/>
              <a:gd name="connsiteY7" fmla="*/ 90010 h 180020"/>
              <a:gd name="connsiteX8" fmla="*/ 90010 w 180020"/>
              <a:gd name="connsiteY8" fmla="*/ 180020 h 180020"/>
              <a:gd name="connsiteX9" fmla="*/ 0 w 180020"/>
              <a:gd name="connsiteY9" fmla="*/ 90010 h 180020"/>
              <a:gd name="connsiteX10" fmla="*/ 90010 w 180020"/>
              <a:gd name="connsiteY10" fmla="*/ 0 h 18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0020" h="180020">
                <a:moveTo>
                  <a:pt x="70888" y="36035"/>
                </a:moveTo>
                <a:lnTo>
                  <a:pt x="70888" y="53498"/>
                </a:lnTo>
                <a:lnTo>
                  <a:pt x="115338" y="90010"/>
                </a:lnTo>
                <a:lnTo>
                  <a:pt x="70888" y="126523"/>
                </a:lnTo>
                <a:lnTo>
                  <a:pt x="70888" y="143985"/>
                </a:lnTo>
                <a:lnTo>
                  <a:pt x="135975" y="90010"/>
                </a:lnTo>
                <a:close/>
                <a:moveTo>
                  <a:pt x="90010" y="0"/>
                </a:moveTo>
                <a:cubicBezTo>
                  <a:pt x="139721" y="0"/>
                  <a:pt x="180020" y="40299"/>
                  <a:pt x="180020" y="90010"/>
                </a:cubicBezTo>
                <a:cubicBezTo>
                  <a:pt x="180020" y="139721"/>
                  <a:pt x="139721" y="180020"/>
                  <a:pt x="90010" y="180020"/>
                </a:cubicBezTo>
                <a:cubicBezTo>
                  <a:pt x="40299" y="180020"/>
                  <a:pt x="0" y="139721"/>
                  <a:pt x="0" y="90010"/>
                </a:cubicBezTo>
                <a:cubicBezTo>
                  <a:pt x="0" y="40299"/>
                  <a:pt x="40299" y="0"/>
                  <a:pt x="90010" y="0"/>
                </a:cubicBezTo>
                <a:close/>
              </a:path>
            </a:pathLst>
          </a:custGeom>
          <a:solidFill>
            <a:srgbClr val="2F3540">
              <a:alpha val="20000"/>
            </a:srgbClr>
          </a:solidFill>
          <a:ln>
            <a:noFill/>
          </a:ln>
        </p:spPr>
        <p:style>
          <a:lnRef idx="2">
            <a:schemeClr val="dk1"/>
          </a:lnRef>
          <a:fillRef idx="1">
            <a:schemeClr val="lt1"/>
          </a:fillRef>
          <a:effectRef idx="0">
            <a:schemeClr val="dk1"/>
          </a:effectRef>
          <a:fontRef idx="minor">
            <a:schemeClr val="dk1"/>
          </a:fontRef>
        </p:style>
        <p:txBody>
          <a:bodyPr anchor="ctr"/>
          <a:lstStyle/>
          <a:p>
            <a:pPr algn="ctr" eaLnBrk="1" fontAlgn="auto" latinLnBrk="1" hangingPunct="1">
              <a:spcBef>
                <a:spcPts val="0"/>
              </a:spcBef>
              <a:spcAft>
                <a:spcPts val="0"/>
              </a:spcAft>
              <a:defRPr/>
            </a:pPr>
            <a:endParaRPr lang="en-US" dirty="0">
              <a:solidFill>
                <a:srgbClr val="000000"/>
              </a:solidFill>
            </a:endParaRPr>
          </a:p>
        </p:txBody>
      </p:sp>
      <p:sp>
        <p:nvSpPr>
          <p:cNvPr id="8" name="자유형 5">
            <a:hlinkClick r:id="" action="ppaction://hlinkshowjump?jump=previousslide"/>
          </p:cNvPr>
          <p:cNvSpPr/>
          <p:nvPr userDrawn="1"/>
        </p:nvSpPr>
        <p:spPr>
          <a:xfrm flipH="1">
            <a:off x="7831016" y="339328"/>
            <a:ext cx="180243" cy="180975"/>
          </a:xfrm>
          <a:custGeom>
            <a:avLst/>
            <a:gdLst>
              <a:gd name="connsiteX0" fmla="*/ 70889 w 180020"/>
              <a:gd name="connsiteY0" fmla="*/ 36035 h 180020"/>
              <a:gd name="connsiteX1" fmla="*/ 135976 w 180020"/>
              <a:gd name="connsiteY1" fmla="*/ 90010 h 180020"/>
              <a:gd name="connsiteX2" fmla="*/ 70889 w 180020"/>
              <a:gd name="connsiteY2" fmla="*/ 143985 h 180020"/>
              <a:gd name="connsiteX3" fmla="*/ 70889 w 180020"/>
              <a:gd name="connsiteY3" fmla="*/ 126523 h 180020"/>
              <a:gd name="connsiteX4" fmla="*/ 115339 w 180020"/>
              <a:gd name="connsiteY4" fmla="*/ 90010 h 180020"/>
              <a:gd name="connsiteX5" fmla="*/ 70889 w 180020"/>
              <a:gd name="connsiteY5" fmla="*/ 53498 h 180020"/>
              <a:gd name="connsiteX6" fmla="*/ 90010 w 180020"/>
              <a:gd name="connsiteY6" fmla="*/ 0 h 180020"/>
              <a:gd name="connsiteX7" fmla="*/ 0 w 180020"/>
              <a:gd name="connsiteY7" fmla="*/ 90010 h 180020"/>
              <a:gd name="connsiteX8" fmla="*/ 90010 w 180020"/>
              <a:gd name="connsiteY8" fmla="*/ 180020 h 180020"/>
              <a:gd name="connsiteX9" fmla="*/ 180020 w 180020"/>
              <a:gd name="connsiteY9" fmla="*/ 90010 h 180020"/>
              <a:gd name="connsiteX10" fmla="*/ 90010 w 180020"/>
              <a:gd name="connsiteY10" fmla="*/ 0 h 18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0020" h="180020">
                <a:moveTo>
                  <a:pt x="70889" y="36035"/>
                </a:moveTo>
                <a:lnTo>
                  <a:pt x="135976" y="90010"/>
                </a:lnTo>
                <a:lnTo>
                  <a:pt x="70889" y="143985"/>
                </a:lnTo>
                <a:lnTo>
                  <a:pt x="70889" y="126523"/>
                </a:lnTo>
                <a:lnTo>
                  <a:pt x="115339" y="90010"/>
                </a:lnTo>
                <a:lnTo>
                  <a:pt x="70889" y="53498"/>
                </a:lnTo>
                <a:close/>
                <a:moveTo>
                  <a:pt x="90010" y="0"/>
                </a:moveTo>
                <a:cubicBezTo>
                  <a:pt x="40299" y="0"/>
                  <a:pt x="0" y="40299"/>
                  <a:pt x="0" y="90010"/>
                </a:cubicBezTo>
                <a:cubicBezTo>
                  <a:pt x="0" y="139721"/>
                  <a:pt x="40299" y="180020"/>
                  <a:pt x="90010" y="180020"/>
                </a:cubicBezTo>
                <a:cubicBezTo>
                  <a:pt x="139721" y="180020"/>
                  <a:pt x="180020" y="139721"/>
                  <a:pt x="180020" y="90010"/>
                </a:cubicBezTo>
                <a:cubicBezTo>
                  <a:pt x="180020" y="40299"/>
                  <a:pt x="139721" y="0"/>
                  <a:pt x="90010" y="0"/>
                </a:cubicBezTo>
                <a:close/>
              </a:path>
            </a:pathLst>
          </a:custGeom>
          <a:solidFill>
            <a:srgbClr val="2F3540">
              <a:alpha val="20000"/>
            </a:srgbClr>
          </a:solidFill>
          <a:ln>
            <a:noFill/>
          </a:ln>
        </p:spPr>
        <p:style>
          <a:lnRef idx="2">
            <a:schemeClr val="dk1"/>
          </a:lnRef>
          <a:fillRef idx="1">
            <a:schemeClr val="lt1"/>
          </a:fillRef>
          <a:effectRef idx="0">
            <a:schemeClr val="dk1"/>
          </a:effectRef>
          <a:fontRef idx="minor">
            <a:schemeClr val="dk1"/>
          </a:fontRef>
        </p:style>
        <p:txBody>
          <a:bodyPr anchor="ctr"/>
          <a:lstStyle/>
          <a:p>
            <a:pPr algn="ctr" eaLnBrk="1" fontAlgn="auto" latinLnBrk="1" hangingPunct="1">
              <a:spcBef>
                <a:spcPts val="0"/>
              </a:spcBef>
              <a:spcAft>
                <a:spcPts val="0"/>
              </a:spcAft>
              <a:defRPr/>
            </a:pPr>
            <a:endParaRPr lang="en-US" dirty="0">
              <a:solidFill>
                <a:srgbClr val="000000"/>
              </a:solidFill>
            </a:endParaRPr>
          </a:p>
        </p:txBody>
      </p:sp>
      <p:sp>
        <p:nvSpPr>
          <p:cNvPr id="30" name="그림 개체 틀 29"/>
          <p:cNvSpPr>
            <a:spLocks noGrp="1"/>
          </p:cNvSpPr>
          <p:nvPr>
            <p:ph type="pic" sz="quarter" idx="10"/>
          </p:nvPr>
        </p:nvSpPr>
        <p:spPr>
          <a:xfrm>
            <a:off x="4824000" y="463500"/>
            <a:ext cx="4320000" cy="4680000"/>
          </a:xfrm>
          <a:prstGeom prst="rect">
            <a:avLst/>
          </a:prstGeom>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36" name="텍스트 개체 틀 35"/>
          <p:cNvSpPr>
            <a:spLocks noGrp="1"/>
          </p:cNvSpPr>
          <p:nvPr>
            <p:ph type="body" sz="quarter" idx="11"/>
          </p:nvPr>
        </p:nvSpPr>
        <p:spPr>
          <a:xfrm>
            <a:off x="1287627" y="1040756"/>
            <a:ext cx="3177219" cy="230832"/>
          </a:xfrm>
          <a:prstGeom prst="rect">
            <a:avLst/>
          </a:prstGeom>
        </p:spPr>
        <p:txBody>
          <a:bodyPr lIns="0" tIns="0" rIns="0" bIns="0"/>
          <a:lstStyle>
            <a:lvl1pPr marL="0" indent="0">
              <a:buNone/>
              <a:defRPr lang="ko-KR" altLang="en-US" sz="1125" kern="1200" dirty="0">
                <a:gradFill>
                  <a:gsLst>
                    <a:gs pos="0">
                      <a:schemeClr val="accent3"/>
                    </a:gs>
                    <a:gs pos="100000">
                      <a:schemeClr val="accent3"/>
                    </a:gs>
                  </a:gsLst>
                  <a:lin ang="5400000" scaled="0"/>
                </a:gradFill>
                <a:latin typeface="Roboto Condensed Regular"/>
                <a:ea typeface="Roboto Light" pitchFamily="2" charset="0"/>
                <a:cs typeface="Roboto Condensed Regular"/>
              </a:defRPr>
            </a:lvl1pPr>
            <a:lvl5pPr>
              <a:defRPr/>
            </a:lvl5pPr>
          </a:lstStyle>
          <a:p>
            <a:pPr lvl="0"/>
            <a:r>
              <a:rPr lang="en-US" altLang="ko-KR"/>
              <a:t>Click to edit Master text styles</a:t>
            </a:r>
            <a:endParaRPr lang="en-US" altLang="ko-KR"/>
          </a:p>
        </p:txBody>
      </p:sp>
      <p:sp>
        <p:nvSpPr>
          <p:cNvPr id="38" name="텍스트 개체 틀 37"/>
          <p:cNvSpPr>
            <a:spLocks noGrp="1"/>
          </p:cNvSpPr>
          <p:nvPr>
            <p:ph type="body" sz="quarter" idx="12"/>
          </p:nvPr>
        </p:nvSpPr>
        <p:spPr>
          <a:xfrm>
            <a:off x="1287627" y="1271589"/>
            <a:ext cx="3177219" cy="384721"/>
          </a:xfrm>
          <a:prstGeom prst="rect">
            <a:avLst/>
          </a:prstGeom>
        </p:spPr>
        <p:txBody>
          <a:bodyPr lIns="0" tIns="0" rIns="0" bIns="0"/>
          <a:lstStyle>
            <a:lvl1pPr marL="0" indent="0">
              <a:buNone/>
              <a:defRPr lang="ko-KR" altLang="en-US" sz="1875" b="1" kern="1200" dirty="0">
                <a:gradFill>
                  <a:gsLst>
                    <a:gs pos="0">
                      <a:srgbClr val="2F3540"/>
                    </a:gs>
                    <a:gs pos="100000">
                      <a:schemeClr val="tx2"/>
                    </a:gs>
                  </a:gsLst>
                  <a:lin ang="5400000" scaled="0"/>
                </a:gradFill>
                <a:latin typeface="Roboto Condensed Regular"/>
                <a:ea typeface="Roboto Light" pitchFamily="2" charset="0"/>
                <a:cs typeface="Roboto Condensed Regular"/>
              </a:defRPr>
            </a:lvl1pPr>
          </a:lstStyle>
          <a:p>
            <a:pPr lvl="0"/>
            <a:r>
              <a:rPr lang="en-US" altLang="ko-KR"/>
              <a:t>Click to edit Master text styles</a:t>
            </a:r>
            <a:endParaRPr lang="en-US" altLang="ko-KR"/>
          </a:p>
        </p:txBody>
      </p:sp>
      <p:sp>
        <p:nvSpPr>
          <p:cNvPr id="40" name="텍스트 개체 틀 39"/>
          <p:cNvSpPr>
            <a:spLocks noGrp="1"/>
          </p:cNvSpPr>
          <p:nvPr>
            <p:ph type="body" sz="quarter" idx="13"/>
          </p:nvPr>
        </p:nvSpPr>
        <p:spPr>
          <a:xfrm>
            <a:off x="1287627" y="1907789"/>
            <a:ext cx="3177219" cy="906849"/>
          </a:xfrm>
          <a:prstGeom prst="rect">
            <a:avLst/>
          </a:prstGeom>
        </p:spPr>
        <p:txBody>
          <a:bodyPr lIns="0" tIns="0" rIns="0" bIns="0"/>
          <a:lstStyle>
            <a:lvl1pPr marL="0" indent="0" algn="l">
              <a:buNone/>
              <a:defRPr lang="ko-KR" altLang="en-US" sz="600"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History">
    <p:spTree>
      <p:nvGrpSpPr>
        <p:cNvPr id="1" name=""/>
        <p:cNvGrpSpPr/>
        <p:nvPr/>
      </p:nvGrpSpPr>
      <p:grpSpPr>
        <a:xfrm>
          <a:off x="0" y="0"/>
          <a:ext cx="0" cy="0"/>
          <a:chOff x="0" y="0"/>
          <a:chExt cx="0" cy="0"/>
        </a:xfrm>
      </p:grpSpPr>
      <p:sp>
        <p:nvSpPr>
          <p:cNvPr id="28" name="텍스트 개체 틀 27"/>
          <p:cNvSpPr>
            <a:spLocks noGrp="1"/>
          </p:cNvSpPr>
          <p:nvPr>
            <p:ph type="body" sz="quarter" idx="15"/>
          </p:nvPr>
        </p:nvSpPr>
        <p:spPr>
          <a:xfrm>
            <a:off x="721771" y="3652429"/>
            <a:ext cx="1728000" cy="682872"/>
          </a:xfrm>
          <a:prstGeom prst="rect">
            <a:avLst/>
          </a:prstGeom>
        </p:spPr>
        <p:txBody>
          <a:bodyPr lIns="0" tIns="0" rIns="0" bIns="0"/>
          <a:lstStyle>
            <a:lvl1pPr marL="0" indent="0">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stStyle>
          <a:p>
            <a:pPr lvl="0"/>
            <a:r>
              <a:rPr lang="en-US" altLang="ko-KR"/>
              <a:t>Click to edit Master text styles</a:t>
            </a:r>
            <a:endParaRPr lang="en-US" altLang="ko-KR"/>
          </a:p>
        </p:txBody>
      </p:sp>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
        <p:nvSpPr>
          <p:cNvPr id="4" name="그림 개체 틀 3"/>
          <p:cNvSpPr>
            <a:spLocks noGrp="1"/>
          </p:cNvSpPr>
          <p:nvPr>
            <p:ph type="pic" sz="quarter" idx="10"/>
          </p:nvPr>
        </p:nvSpPr>
        <p:spPr>
          <a:xfrm>
            <a:off x="721771" y="1174941"/>
            <a:ext cx="1926000" cy="2160000"/>
          </a:xfrm>
          <a:prstGeom prst="rect">
            <a:avLst/>
          </a:prstGeom>
          <a:solidFill>
            <a:schemeClr val="tx2">
              <a:alpha val="20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0" name="그림 개체 틀 3"/>
          <p:cNvSpPr>
            <a:spLocks noGrp="1"/>
          </p:cNvSpPr>
          <p:nvPr>
            <p:ph type="pic" sz="quarter" idx="11"/>
          </p:nvPr>
        </p:nvSpPr>
        <p:spPr>
          <a:xfrm>
            <a:off x="2647771" y="1174941"/>
            <a:ext cx="1926000" cy="2160000"/>
          </a:xfrm>
          <a:prstGeom prst="rect">
            <a:avLst/>
          </a:prstGeom>
          <a:solidFill>
            <a:schemeClr val="tx2">
              <a:alpha val="20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1" name="그림 개체 틀 3"/>
          <p:cNvSpPr>
            <a:spLocks noGrp="1"/>
          </p:cNvSpPr>
          <p:nvPr>
            <p:ph type="pic" sz="quarter" idx="12"/>
          </p:nvPr>
        </p:nvSpPr>
        <p:spPr>
          <a:xfrm>
            <a:off x="4573771" y="1174941"/>
            <a:ext cx="1926000" cy="2160000"/>
          </a:xfrm>
          <a:prstGeom prst="rect">
            <a:avLst/>
          </a:prstGeom>
          <a:solidFill>
            <a:schemeClr val="tx2">
              <a:alpha val="20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2" name="그림 개체 틀 3"/>
          <p:cNvSpPr>
            <a:spLocks noGrp="1"/>
          </p:cNvSpPr>
          <p:nvPr>
            <p:ph type="pic" sz="quarter" idx="13"/>
          </p:nvPr>
        </p:nvSpPr>
        <p:spPr>
          <a:xfrm>
            <a:off x="6499771" y="1174941"/>
            <a:ext cx="1926000" cy="2160000"/>
          </a:xfrm>
          <a:prstGeom prst="rect">
            <a:avLst/>
          </a:prstGeom>
          <a:solidFill>
            <a:schemeClr val="tx2">
              <a:alpha val="20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26" name="텍스트 개체 틀 25"/>
          <p:cNvSpPr>
            <a:spLocks noGrp="1"/>
          </p:cNvSpPr>
          <p:nvPr>
            <p:ph type="body" sz="quarter" idx="14"/>
          </p:nvPr>
        </p:nvSpPr>
        <p:spPr>
          <a:xfrm>
            <a:off x="721771" y="3394870"/>
            <a:ext cx="921292" cy="254632"/>
          </a:xfrm>
          <a:prstGeom prst="rect">
            <a:avLst/>
          </a:prstGeom>
        </p:spPr>
        <p:txBody>
          <a:bodyPr lIns="0" tIns="0" rIns="0" bIns="0"/>
          <a:lstStyle>
            <a:lvl1pPr marL="0" indent="0">
              <a:buNone/>
              <a:defRPr lang="ko-KR" altLang="en-US" sz="1200" kern="1200" dirty="0">
                <a:gradFill>
                  <a:gsLst>
                    <a:gs pos="0">
                      <a:schemeClr val="accent1"/>
                    </a:gs>
                    <a:gs pos="100000">
                      <a:schemeClr val="accent1"/>
                    </a:gs>
                  </a:gsLst>
                  <a:lin ang="5400000" scaled="0"/>
                </a:gradFill>
                <a:latin typeface="Bebas Neue" pitchFamily="34" charset="0"/>
                <a:ea typeface="+mn-ea"/>
                <a:cs typeface="+mn-cs"/>
              </a:defRPr>
            </a:lvl1pPr>
          </a:lstStyle>
          <a:p>
            <a:pPr lvl="0"/>
            <a:r>
              <a:rPr lang="en-US" altLang="ko-KR"/>
              <a:t>Click to edit Master text styles</a:t>
            </a:r>
            <a:endParaRPr lang="en-US" altLang="ko-KR"/>
          </a:p>
        </p:txBody>
      </p:sp>
      <p:sp>
        <p:nvSpPr>
          <p:cNvPr id="31" name="텍스트 개체 틀 27"/>
          <p:cNvSpPr>
            <a:spLocks noGrp="1"/>
          </p:cNvSpPr>
          <p:nvPr>
            <p:ph type="body" sz="quarter" idx="16"/>
          </p:nvPr>
        </p:nvSpPr>
        <p:spPr>
          <a:xfrm>
            <a:off x="2647771" y="3652429"/>
            <a:ext cx="1728000" cy="682872"/>
          </a:xfrm>
          <a:prstGeom prst="rect">
            <a:avLst/>
          </a:prstGeom>
        </p:spPr>
        <p:txBody>
          <a:bodyPr lIns="0" tIns="0" rIns="0" bIns="0"/>
          <a:lstStyle>
            <a:lvl1pPr marL="0" indent="0">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stStyle>
          <a:p>
            <a:pPr lvl="0"/>
            <a:r>
              <a:rPr lang="en-US" altLang="ko-KR"/>
              <a:t>Click to edit Master text styles</a:t>
            </a:r>
            <a:endParaRPr lang="en-US" altLang="ko-KR"/>
          </a:p>
        </p:txBody>
      </p:sp>
      <p:sp>
        <p:nvSpPr>
          <p:cNvPr id="32" name="텍스트 개체 틀 25"/>
          <p:cNvSpPr>
            <a:spLocks noGrp="1"/>
          </p:cNvSpPr>
          <p:nvPr>
            <p:ph type="body" sz="quarter" idx="17"/>
          </p:nvPr>
        </p:nvSpPr>
        <p:spPr>
          <a:xfrm>
            <a:off x="2647771" y="3394870"/>
            <a:ext cx="921292" cy="254632"/>
          </a:xfrm>
          <a:prstGeom prst="rect">
            <a:avLst/>
          </a:prstGeom>
        </p:spPr>
        <p:txBody>
          <a:bodyPr lIns="0" tIns="0" rIns="0" bIns="0"/>
          <a:lstStyle>
            <a:lvl1pPr marL="0" indent="0">
              <a:buNone/>
              <a:defRPr lang="ko-KR" altLang="en-US" sz="1200" kern="1200" dirty="0">
                <a:gradFill>
                  <a:gsLst>
                    <a:gs pos="0">
                      <a:schemeClr val="accent1"/>
                    </a:gs>
                    <a:gs pos="100000">
                      <a:schemeClr val="accent1"/>
                    </a:gs>
                  </a:gsLst>
                  <a:lin ang="5400000" scaled="0"/>
                </a:gradFill>
                <a:latin typeface="Bebas Neue" pitchFamily="34" charset="0"/>
                <a:ea typeface="+mn-ea"/>
                <a:cs typeface="+mn-cs"/>
              </a:defRPr>
            </a:lvl1pPr>
          </a:lstStyle>
          <a:p>
            <a:pPr lvl="0"/>
            <a:r>
              <a:rPr lang="en-US" altLang="ko-KR"/>
              <a:t>Click to edit Master text styles</a:t>
            </a:r>
            <a:endParaRPr lang="en-US" altLang="ko-KR"/>
          </a:p>
        </p:txBody>
      </p:sp>
      <p:sp>
        <p:nvSpPr>
          <p:cNvPr id="33" name="텍스트 개체 틀 27"/>
          <p:cNvSpPr>
            <a:spLocks noGrp="1"/>
          </p:cNvSpPr>
          <p:nvPr>
            <p:ph type="body" sz="quarter" idx="18"/>
          </p:nvPr>
        </p:nvSpPr>
        <p:spPr>
          <a:xfrm>
            <a:off x="4573771" y="3652429"/>
            <a:ext cx="1728000" cy="682872"/>
          </a:xfrm>
          <a:prstGeom prst="rect">
            <a:avLst/>
          </a:prstGeom>
        </p:spPr>
        <p:txBody>
          <a:bodyPr lIns="0" tIns="0" rIns="0" bIns="0"/>
          <a:lstStyle>
            <a:lvl1pPr marL="0" indent="0">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stStyle>
          <a:p>
            <a:pPr lvl="0"/>
            <a:r>
              <a:rPr lang="en-US" altLang="ko-KR"/>
              <a:t>Click to edit Master text styles</a:t>
            </a:r>
            <a:endParaRPr lang="en-US" altLang="ko-KR"/>
          </a:p>
        </p:txBody>
      </p:sp>
      <p:sp>
        <p:nvSpPr>
          <p:cNvPr id="34" name="텍스트 개체 틀 25"/>
          <p:cNvSpPr>
            <a:spLocks noGrp="1"/>
          </p:cNvSpPr>
          <p:nvPr>
            <p:ph type="body" sz="quarter" idx="19"/>
          </p:nvPr>
        </p:nvSpPr>
        <p:spPr>
          <a:xfrm>
            <a:off x="4573771" y="3394870"/>
            <a:ext cx="921292" cy="254632"/>
          </a:xfrm>
          <a:prstGeom prst="rect">
            <a:avLst/>
          </a:prstGeom>
        </p:spPr>
        <p:txBody>
          <a:bodyPr lIns="0" tIns="0" rIns="0" bIns="0"/>
          <a:lstStyle>
            <a:lvl1pPr marL="0" indent="0">
              <a:buNone/>
              <a:defRPr lang="ko-KR" altLang="en-US" sz="1200" kern="1200" dirty="0">
                <a:gradFill>
                  <a:gsLst>
                    <a:gs pos="0">
                      <a:schemeClr val="accent1"/>
                    </a:gs>
                    <a:gs pos="100000">
                      <a:schemeClr val="accent1"/>
                    </a:gs>
                  </a:gsLst>
                  <a:lin ang="5400000" scaled="0"/>
                </a:gradFill>
                <a:latin typeface="Bebas Neue" pitchFamily="34" charset="0"/>
                <a:ea typeface="+mn-ea"/>
                <a:cs typeface="+mn-cs"/>
              </a:defRPr>
            </a:lvl1pPr>
          </a:lstStyle>
          <a:p>
            <a:pPr lvl="0"/>
            <a:r>
              <a:rPr lang="en-US" altLang="ko-KR"/>
              <a:t>Click to edit Master text styles</a:t>
            </a:r>
            <a:endParaRPr lang="en-US" altLang="ko-KR"/>
          </a:p>
        </p:txBody>
      </p:sp>
      <p:sp>
        <p:nvSpPr>
          <p:cNvPr id="35" name="텍스트 개체 틀 27"/>
          <p:cNvSpPr>
            <a:spLocks noGrp="1"/>
          </p:cNvSpPr>
          <p:nvPr>
            <p:ph type="body" sz="quarter" idx="20"/>
          </p:nvPr>
        </p:nvSpPr>
        <p:spPr>
          <a:xfrm>
            <a:off x="6499771" y="3652429"/>
            <a:ext cx="1728000" cy="682872"/>
          </a:xfrm>
          <a:prstGeom prst="rect">
            <a:avLst/>
          </a:prstGeom>
        </p:spPr>
        <p:txBody>
          <a:bodyPr lIns="0" tIns="0" rIns="0" bIns="0"/>
          <a:lstStyle>
            <a:lvl1pPr marL="0" indent="0">
              <a:buNone/>
              <a:defRPr lang="ko-KR" altLang="en-US" sz="525" kern="1200" dirty="0">
                <a:gradFill>
                  <a:gsLst>
                    <a:gs pos="0">
                      <a:schemeClr val="tx1">
                        <a:alpha val="50000"/>
                      </a:schemeClr>
                    </a:gs>
                    <a:gs pos="100000">
                      <a:schemeClr val="tx1">
                        <a:alpha val="50000"/>
                      </a:schemeClr>
                    </a:gs>
                  </a:gsLst>
                  <a:lin ang="5400000" scaled="0"/>
                </a:gradFill>
                <a:latin typeface="+mn-lt"/>
                <a:ea typeface="Roboto Light" pitchFamily="2" charset="0"/>
                <a:cs typeface="Roboto Condensed Regular"/>
              </a:defRPr>
            </a:lvl1pPr>
          </a:lstStyle>
          <a:p>
            <a:pPr lvl="0"/>
            <a:r>
              <a:rPr lang="en-US" altLang="ko-KR"/>
              <a:t>Click to edit Master text styles</a:t>
            </a:r>
            <a:endParaRPr lang="en-US" altLang="ko-KR"/>
          </a:p>
        </p:txBody>
      </p:sp>
      <p:sp>
        <p:nvSpPr>
          <p:cNvPr id="36" name="텍스트 개체 틀 25"/>
          <p:cNvSpPr>
            <a:spLocks noGrp="1"/>
          </p:cNvSpPr>
          <p:nvPr>
            <p:ph type="body" sz="quarter" idx="21"/>
          </p:nvPr>
        </p:nvSpPr>
        <p:spPr>
          <a:xfrm>
            <a:off x="6499771" y="3394870"/>
            <a:ext cx="921292" cy="254632"/>
          </a:xfrm>
          <a:prstGeom prst="rect">
            <a:avLst/>
          </a:prstGeom>
        </p:spPr>
        <p:txBody>
          <a:bodyPr lIns="0" tIns="0" rIns="0" bIns="0"/>
          <a:lstStyle>
            <a:lvl1pPr marL="0" indent="0">
              <a:buNone/>
              <a:defRPr lang="ko-KR" altLang="en-US" sz="1200" kern="1200" dirty="0">
                <a:gradFill>
                  <a:gsLst>
                    <a:gs pos="0">
                      <a:schemeClr val="accent1"/>
                    </a:gs>
                    <a:gs pos="100000">
                      <a:schemeClr val="accent1"/>
                    </a:gs>
                  </a:gsLst>
                  <a:lin ang="5400000" scaled="0"/>
                </a:gradFill>
                <a:latin typeface="Bebas Neue" pitchFamily="34" charset="0"/>
                <a:ea typeface="+mn-ea"/>
                <a:cs typeface="+mn-cs"/>
              </a:defRPr>
            </a:lvl1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Our work : type 1">
    <p:spTree>
      <p:nvGrpSpPr>
        <p:cNvPr id="1" name=""/>
        <p:cNvGrpSpPr/>
        <p:nvPr/>
      </p:nvGrpSpPr>
      <p:grpSpPr>
        <a:xfrm>
          <a:off x="0" y="0"/>
          <a:ext cx="0" cy="0"/>
          <a:chOff x="0" y="0"/>
          <a:chExt cx="0" cy="0"/>
        </a:xfrm>
      </p:grpSpPr>
      <p:sp>
        <p:nvSpPr>
          <p:cNvPr id="5" name="그림 개체 틀 4"/>
          <p:cNvSpPr>
            <a:spLocks noGrp="1"/>
          </p:cNvSpPr>
          <p:nvPr>
            <p:ph type="pic" sz="quarter" idx="10"/>
          </p:nvPr>
        </p:nvSpPr>
        <p:spPr>
          <a:xfrm>
            <a:off x="0" y="1181101"/>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
        <p:nvSpPr>
          <p:cNvPr id="6" name="그림 개체 틀 4"/>
          <p:cNvSpPr>
            <a:spLocks noGrp="1"/>
          </p:cNvSpPr>
          <p:nvPr>
            <p:ph type="pic" sz="quarter" idx="11"/>
          </p:nvPr>
        </p:nvSpPr>
        <p:spPr>
          <a:xfrm>
            <a:off x="1530000" y="1181101"/>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7" name="그림 개체 틀 4"/>
          <p:cNvSpPr>
            <a:spLocks noGrp="1"/>
          </p:cNvSpPr>
          <p:nvPr>
            <p:ph type="pic" sz="quarter" idx="12"/>
          </p:nvPr>
        </p:nvSpPr>
        <p:spPr>
          <a:xfrm>
            <a:off x="3060000" y="1181101"/>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8" name="그림 개체 틀 4"/>
          <p:cNvSpPr>
            <a:spLocks noGrp="1"/>
          </p:cNvSpPr>
          <p:nvPr>
            <p:ph type="pic" sz="quarter" idx="13"/>
          </p:nvPr>
        </p:nvSpPr>
        <p:spPr>
          <a:xfrm>
            <a:off x="4590000" y="1181101"/>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9" name="그림 개체 틀 4"/>
          <p:cNvSpPr>
            <a:spLocks noGrp="1"/>
          </p:cNvSpPr>
          <p:nvPr>
            <p:ph type="pic" sz="quarter" idx="14"/>
          </p:nvPr>
        </p:nvSpPr>
        <p:spPr>
          <a:xfrm>
            <a:off x="6120000" y="1181101"/>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0" name="그림 개체 틀 4"/>
          <p:cNvSpPr>
            <a:spLocks noGrp="1"/>
          </p:cNvSpPr>
          <p:nvPr>
            <p:ph type="pic" sz="quarter" idx="15"/>
          </p:nvPr>
        </p:nvSpPr>
        <p:spPr>
          <a:xfrm>
            <a:off x="7650000" y="1181101"/>
            <a:ext cx="1494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1" name="그림 개체 틀 4"/>
          <p:cNvSpPr>
            <a:spLocks noGrp="1"/>
          </p:cNvSpPr>
          <p:nvPr>
            <p:ph type="pic" sz="quarter" idx="16"/>
          </p:nvPr>
        </p:nvSpPr>
        <p:spPr>
          <a:xfrm>
            <a:off x="0" y="2333101"/>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2" name="그림 개체 틀 4"/>
          <p:cNvSpPr>
            <a:spLocks noGrp="1"/>
          </p:cNvSpPr>
          <p:nvPr>
            <p:ph type="pic" sz="quarter" idx="17"/>
          </p:nvPr>
        </p:nvSpPr>
        <p:spPr>
          <a:xfrm>
            <a:off x="1530000" y="2333101"/>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3" name="그림 개체 틀 4"/>
          <p:cNvSpPr>
            <a:spLocks noGrp="1"/>
          </p:cNvSpPr>
          <p:nvPr>
            <p:ph type="pic" sz="quarter" idx="18"/>
          </p:nvPr>
        </p:nvSpPr>
        <p:spPr>
          <a:xfrm>
            <a:off x="3060000" y="2333101"/>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4" name="그림 개체 틀 4"/>
          <p:cNvSpPr>
            <a:spLocks noGrp="1"/>
          </p:cNvSpPr>
          <p:nvPr>
            <p:ph type="pic" sz="quarter" idx="19"/>
          </p:nvPr>
        </p:nvSpPr>
        <p:spPr>
          <a:xfrm>
            <a:off x="4590000" y="2333101"/>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5" name="그림 개체 틀 4"/>
          <p:cNvSpPr>
            <a:spLocks noGrp="1"/>
          </p:cNvSpPr>
          <p:nvPr>
            <p:ph type="pic" sz="quarter" idx="20"/>
          </p:nvPr>
        </p:nvSpPr>
        <p:spPr>
          <a:xfrm>
            <a:off x="6120000" y="2333101"/>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6" name="그림 개체 틀 4"/>
          <p:cNvSpPr>
            <a:spLocks noGrp="1"/>
          </p:cNvSpPr>
          <p:nvPr>
            <p:ph type="pic" sz="quarter" idx="21"/>
          </p:nvPr>
        </p:nvSpPr>
        <p:spPr>
          <a:xfrm>
            <a:off x="7650000" y="2333101"/>
            <a:ext cx="1494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22" name="Text Placeholder 28"/>
          <p:cNvSpPr>
            <a:spLocks noGrp="1"/>
          </p:cNvSpPr>
          <p:nvPr>
            <p:ph type="body" sz="quarter" idx="22"/>
          </p:nvPr>
        </p:nvSpPr>
        <p:spPr>
          <a:xfrm>
            <a:off x="720726" y="3656435"/>
            <a:ext cx="7702550" cy="529803"/>
          </a:xfrm>
          <a:prstGeom prst="rect">
            <a:avLst/>
          </a:prstGeom>
        </p:spPr>
        <p:txBody>
          <a:bodyPr lIns="0" tIns="0" rIns="0" bIns="0" numCol="2" spcCol="216000">
            <a:noAutofit/>
          </a:bodyPr>
          <a:lstStyle>
            <a:lvl1pPr marL="0" indent="0" algn="just">
              <a:buNone/>
              <a:defRPr lang="en-US" sz="60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sz="600">
                <a:gradFill flip="none" rotWithShape="1">
                  <a:gsLst>
                    <a:gs pos="0">
                      <a:srgbClr val="2F3540"/>
                    </a:gs>
                    <a:gs pos="100000">
                      <a:srgbClr val="2F3540"/>
                    </a:gs>
                  </a:gsLst>
                  <a:lin ang="0" scaled="1"/>
                  <a:tileRect/>
                </a:gradFill>
                <a:latin typeface="Roboto Condensed Light"/>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Tree>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Our work : type 2">
    <p:spTree>
      <p:nvGrpSpPr>
        <p:cNvPr id="1" name=""/>
        <p:cNvGrpSpPr/>
        <p:nvPr/>
      </p:nvGrpSpPr>
      <p:grpSpPr>
        <a:xfrm>
          <a:off x="0" y="0"/>
          <a:ext cx="0" cy="0"/>
          <a:chOff x="0" y="0"/>
          <a:chExt cx="0" cy="0"/>
        </a:xfrm>
      </p:grpSpPr>
      <p:sp>
        <p:nvSpPr>
          <p:cNvPr id="5" name="그림 개체 틀 4"/>
          <p:cNvSpPr>
            <a:spLocks noGrp="1"/>
          </p:cNvSpPr>
          <p:nvPr>
            <p:ph type="pic" sz="quarter" idx="10"/>
          </p:nvPr>
        </p:nvSpPr>
        <p:spPr>
          <a:xfrm>
            <a:off x="0" y="2839500"/>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
        <p:nvSpPr>
          <p:cNvPr id="6" name="그림 개체 틀 4"/>
          <p:cNvSpPr>
            <a:spLocks noGrp="1"/>
          </p:cNvSpPr>
          <p:nvPr>
            <p:ph type="pic" sz="quarter" idx="11"/>
          </p:nvPr>
        </p:nvSpPr>
        <p:spPr>
          <a:xfrm>
            <a:off x="1530000" y="2839500"/>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7" name="그림 개체 틀 4"/>
          <p:cNvSpPr>
            <a:spLocks noGrp="1"/>
          </p:cNvSpPr>
          <p:nvPr>
            <p:ph type="pic" sz="quarter" idx="12"/>
          </p:nvPr>
        </p:nvSpPr>
        <p:spPr>
          <a:xfrm>
            <a:off x="3060000" y="2839500"/>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8" name="그림 개체 틀 4"/>
          <p:cNvSpPr>
            <a:spLocks noGrp="1"/>
          </p:cNvSpPr>
          <p:nvPr>
            <p:ph type="pic" sz="quarter" idx="13"/>
          </p:nvPr>
        </p:nvSpPr>
        <p:spPr>
          <a:xfrm>
            <a:off x="4590000" y="2839500"/>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9" name="그림 개체 틀 4"/>
          <p:cNvSpPr>
            <a:spLocks noGrp="1"/>
          </p:cNvSpPr>
          <p:nvPr>
            <p:ph type="pic" sz="quarter" idx="14"/>
          </p:nvPr>
        </p:nvSpPr>
        <p:spPr>
          <a:xfrm>
            <a:off x="6120000" y="2839500"/>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0" name="그림 개체 틀 4"/>
          <p:cNvSpPr>
            <a:spLocks noGrp="1"/>
          </p:cNvSpPr>
          <p:nvPr>
            <p:ph type="pic" sz="quarter" idx="15"/>
          </p:nvPr>
        </p:nvSpPr>
        <p:spPr>
          <a:xfrm>
            <a:off x="7650000" y="2839500"/>
            <a:ext cx="1494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1" name="그림 개체 틀 4"/>
          <p:cNvSpPr>
            <a:spLocks noGrp="1"/>
          </p:cNvSpPr>
          <p:nvPr>
            <p:ph type="pic" sz="quarter" idx="16"/>
          </p:nvPr>
        </p:nvSpPr>
        <p:spPr>
          <a:xfrm>
            <a:off x="0" y="3991500"/>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2" name="그림 개체 틀 4"/>
          <p:cNvSpPr>
            <a:spLocks noGrp="1"/>
          </p:cNvSpPr>
          <p:nvPr>
            <p:ph type="pic" sz="quarter" idx="17"/>
          </p:nvPr>
        </p:nvSpPr>
        <p:spPr>
          <a:xfrm>
            <a:off x="1530000" y="3991500"/>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3" name="그림 개체 틀 4"/>
          <p:cNvSpPr>
            <a:spLocks noGrp="1"/>
          </p:cNvSpPr>
          <p:nvPr>
            <p:ph type="pic" sz="quarter" idx="18"/>
          </p:nvPr>
        </p:nvSpPr>
        <p:spPr>
          <a:xfrm>
            <a:off x="3060000" y="3991500"/>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4" name="그림 개체 틀 4"/>
          <p:cNvSpPr>
            <a:spLocks noGrp="1"/>
          </p:cNvSpPr>
          <p:nvPr>
            <p:ph type="pic" sz="quarter" idx="19"/>
          </p:nvPr>
        </p:nvSpPr>
        <p:spPr>
          <a:xfrm>
            <a:off x="4590000" y="3991500"/>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5" name="그림 개체 틀 4"/>
          <p:cNvSpPr>
            <a:spLocks noGrp="1"/>
          </p:cNvSpPr>
          <p:nvPr>
            <p:ph type="pic" sz="quarter" idx="20"/>
          </p:nvPr>
        </p:nvSpPr>
        <p:spPr>
          <a:xfrm>
            <a:off x="6120000" y="3991500"/>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6" name="그림 개체 틀 4"/>
          <p:cNvSpPr>
            <a:spLocks noGrp="1"/>
          </p:cNvSpPr>
          <p:nvPr>
            <p:ph type="pic" sz="quarter" idx="21"/>
          </p:nvPr>
        </p:nvSpPr>
        <p:spPr>
          <a:xfrm>
            <a:off x="7650000" y="3991500"/>
            <a:ext cx="1494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22" name="Text Placeholder 28"/>
          <p:cNvSpPr>
            <a:spLocks noGrp="1"/>
          </p:cNvSpPr>
          <p:nvPr>
            <p:ph type="body" sz="quarter" idx="22"/>
          </p:nvPr>
        </p:nvSpPr>
        <p:spPr>
          <a:xfrm>
            <a:off x="720726" y="1002713"/>
            <a:ext cx="7702550" cy="529803"/>
          </a:xfrm>
          <a:prstGeom prst="rect">
            <a:avLst/>
          </a:prstGeom>
        </p:spPr>
        <p:txBody>
          <a:bodyPr lIns="0" tIns="0" rIns="0" bIns="0" numCol="2" spcCol="216000">
            <a:noAutofit/>
          </a:bodyPr>
          <a:lstStyle>
            <a:lvl1pPr marL="0" indent="0" algn="just">
              <a:buNone/>
              <a:defRPr lang="en-US" sz="60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sz="600">
                <a:gradFill flip="none" rotWithShape="1">
                  <a:gsLst>
                    <a:gs pos="0">
                      <a:srgbClr val="2F3540"/>
                    </a:gs>
                    <a:gs pos="100000">
                      <a:srgbClr val="2F3540"/>
                    </a:gs>
                  </a:gsLst>
                  <a:lin ang="0" scaled="1"/>
                  <a:tileRect/>
                </a:gradFill>
                <a:latin typeface="Roboto Condensed Light"/>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17" name="그림 개체 틀 4"/>
          <p:cNvSpPr>
            <a:spLocks noGrp="1"/>
          </p:cNvSpPr>
          <p:nvPr>
            <p:ph type="pic" sz="quarter" idx="23"/>
          </p:nvPr>
        </p:nvSpPr>
        <p:spPr>
          <a:xfrm>
            <a:off x="0" y="1687500"/>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8" name="그림 개체 틀 4"/>
          <p:cNvSpPr>
            <a:spLocks noGrp="1"/>
          </p:cNvSpPr>
          <p:nvPr>
            <p:ph type="pic" sz="quarter" idx="24"/>
          </p:nvPr>
        </p:nvSpPr>
        <p:spPr>
          <a:xfrm>
            <a:off x="1530000" y="1687500"/>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19" name="그림 개체 틀 4"/>
          <p:cNvSpPr>
            <a:spLocks noGrp="1"/>
          </p:cNvSpPr>
          <p:nvPr>
            <p:ph type="pic" sz="quarter" idx="25"/>
          </p:nvPr>
        </p:nvSpPr>
        <p:spPr>
          <a:xfrm>
            <a:off x="3060000" y="1687500"/>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20" name="그림 개체 틀 4"/>
          <p:cNvSpPr>
            <a:spLocks noGrp="1"/>
          </p:cNvSpPr>
          <p:nvPr>
            <p:ph type="pic" sz="quarter" idx="26"/>
          </p:nvPr>
        </p:nvSpPr>
        <p:spPr>
          <a:xfrm>
            <a:off x="4590000" y="1687500"/>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21" name="그림 개체 틀 4"/>
          <p:cNvSpPr>
            <a:spLocks noGrp="1"/>
          </p:cNvSpPr>
          <p:nvPr>
            <p:ph type="pic" sz="quarter" idx="27"/>
          </p:nvPr>
        </p:nvSpPr>
        <p:spPr>
          <a:xfrm>
            <a:off x="6120000" y="1687500"/>
            <a:ext cx="1530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
        <p:nvSpPr>
          <p:cNvPr id="23" name="그림 개체 틀 4"/>
          <p:cNvSpPr>
            <a:spLocks noGrp="1"/>
          </p:cNvSpPr>
          <p:nvPr>
            <p:ph type="pic" sz="quarter" idx="28"/>
          </p:nvPr>
        </p:nvSpPr>
        <p:spPr>
          <a:xfrm>
            <a:off x="7650000" y="1687500"/>
            <a:ext cx="1494000" cy="1152000"/>
          </a:xfrm>
          <a:prstGeom prst="rect">
            <a:avLst/>
          </a:prstGeom>
          <a:solidFill>
            <a:schemeClr val="accent3">
              <a:lumMod val="85000"/>
            </a:schemeClr>
          </a:solidFill>
        </p:spPr>
        <p:txBody>
          <a:bodyPr anchor="ctr"/>
          <a:lstStyle>
            <a:lvl1pPr marL="0" indent="0" algn="ctr">
              <a:buNone/>
              <a:defRPr sz="750"/>
            </a:lvl1pPr>
          </a:lstStyle>
          <a:p>
            <a:pPr lvl="0"/>
            <a:r>
              <a:rPr lang="en-US" altLang="ko-KR" noProof="0"/>
              <a:t>Click icon to add picture</a:t>
            </a:r>
            <a:endParaRPr lang="ko-KR" altLang="en-US" noProof="0" dirty="0"/>
          </a:p>
        </p:txBody>
      </p:sp>
    </p:spTree>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Layout with Text_Top">
    <p:spTree>
      <p:nvGrpSpPr>
        <p:cNvPr id="1" name=""/>
        <p:cNvGrpSpPr/>
        <p:nvPr/>
      </p:nvGrpSpPr>
      <p:grpSpPr>
        <a:xfrm>
          <a:off x="0" y="0"/>
          <a:ext cx="0" cy="0"/>
          <a:chOff x="0" y="0"/>
          <a:chExt cx="0" cy="0"/>
        </a:xfrm>
      </p:grpSpPr>
      <p:sp>
        <p:nvSpPr>
          <p:cNvPr id="5" name="텍스트 개체 틀 4"/>
          <p:cNvSpPr>
            <a:spLocks noGrp="1"/>
          </p:cNvSpPr>
          <p:nvPr>
            <p:ph type="body" sz="quarter" idx="10"/>
          </p:nvPr>
        </p:nvSpPr>
        <p:spPr>
          <a:xfrm>
            <a:off x="720725" y="879475"/>
            <a:ext cx="7702550" cy="539605"/>
          </a:xfrm>
          <a:prstGeom prst="rect">
            <a:avLst/>
          </a:prstGeom>
        </p:spPr>
        <p:txBody>
          <a:bodyPr lIns="0" tIns="0" rIns="0" bIns="0" numCol="2" spcCol="216000"/>
          <a:lstStyle>
            <a:lvl1pPr marL="0" indent="0" algn="just">
              <a:buNone/>
              <a:defRPr lang="en-US" altLang="ko-KR" sz="80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4572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2pPr>
            <a:lvl3pPr marL="9144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3pPr>
            <a:lvl4pPr marL="13716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4pPr>
            <a:lvl5pPr marL="1828800" indent="0">
              <a:buNone/>
              <a:defRPr lang="ko-KR" altLang="en-US" sz="800" kern="1200" dirty="0" smtClean="0">
                <a:gradFill flip="none" rotWithShape="1">
                  <a:gsLst>
                    <a:gs pos="0">
                      <a:srgbClr val="2F3540"/>
                    </a:gs>
                    <a:gs pos="100000">
                      <a:srgbClr val="2F3540"/>
                    </a:gs>
                  </a:gsLst>
                  <a:lin ang="0" scaled="1"/>
                  <a:tileRect/>
                </a:gradFill>
                <a:latin typeface="Roboto Condensed Light"/>
                <a:ea typeface="+mn-ea"/>
                <a:cs typeface="+mn-cs"/>
              </a:defRPr>
            </a:lvl5pPr>
          </a:lstStyle>
          <a:p>
            <a:pPr lvl="0"/>
            <a:r>
              <a:rPr lang="en-US" altLang="ko-KR"/>
              <a:t>Click to edit Master text styles</a:t>
            </a:r>
            <a:endParaRPr lang="en-US" altLang="ko-KR"/>
          </a:p>
        </p:txBody>
      </p:sp>
      <p:sp>
        <p:nvSpPr>
          <p:cNvPr id="3" name="Title 2"/>
          <p:cNvSpPr>
            <a:spLocks noGrp="1"/>
          </p:cNvSpPr>
          <p:nvPr>
            <p:ph type="title"/>
          </p:nvPr>
        </p:nvSpPr>
        <p:spPr/>
        <p:txBody>
          <a:bodyPr/>
          <a:lstStyle/>
          <a:p>
            <a:r>
              <a:rPr lang="en-US" dirty="0"/>
              <a:t>Click to edit Master title style</a:t>
            </a:r>
            <a:endParaRPr lang="en-US" dirty="0"/>
          </a:p>
        </p:txBody>
      </p:sp>
    </p:spTree>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Full Width Columns:Top">
    <p:spTree>
      <p:nvGrpSpPr>
        <p:cNvPr id="1" name=""/>
        <p:cNvGrpSpPr/>
        <p:nvPr/>
      </p:nvGrpSpPr>
      <p:grpSpPr>
        <a:xfrm>
          <a:off x="0" y="0"/>
          <a:ext cx="0" cy="0"/>
          <a:chOff x="0" y="0"/>
          <a:chExt cx="0" cy="0"/>
        </a:xfrm>
      </p:grpSpPr>
      <p:sp>
        <p:nvSpPr>
          <p:cNvPr id="4" name="그림 개체 틀 3"/>
          <p:cNvSpPr>
            <a:spLocks noGrp="1"/>
          </p:cNvSpPr>
          <p:nvPr>
            <p:ph type="pic" sz="quarter" idx="15"/>
          </p:nvPr>
        </p:nvSpPr>
        <p:spPr>
          <a:xfrm>
            <a:off x="0" y="886980"/>
            <a:ext cx="9144000" cy="3240000"/>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0" indent="0" algn="ctr" defTabSz="685800" rtl="0" eaLnBrk="1" latinLnBrk="1" hangingPunct="1">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29" name="Text Placeholder 28"/>
          <p:cNvSpPr>
            <a:spLocks noGrp="1"/>
          </p:cNvSpPr>
          <p:nvPr>
            <p:ph type="body" sz="quarter" idx="14"/>
          </p:nvPr>
        </p:nvSpPr>
        <p:spPr>
          <a:xfrm>
            <a:off x="720726" y="4227936"/>
            <a:ext cx="7702550" cy="496888"/>
          </a:xfrm>
          <a:prstGeom prst="rect">
            <a:avLst/>
          </a:prstGeom>
        </p:spPr>
        <p:txBody>
          <a:bodyPr lIns="0" tIns="0" rIns="0" bIns="0" numCol="2" spcCol="216000">
            <a:noAutofit/>
          </a:bodyPr>
          <a:lstStyle>
            <a:lvl1pPr marL="0" indent="0" algn="just">
              <a:buNone/>
              <a:defRPr lang="en-US" sz="60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sz="600">
                <a:gradFill flip="none" rotWithShape="1">
                  <a:gsLst>
                    <a:gs pos="0">
                      <a:srgbClr val="2F3540"/>
                    </a:gs>
                    <a:gs pos="100000">
                      <a:srgbClr val="2F3540"/>
                    </a:gs>
                  </a:gsLst>
                  <a:lin ang="0" scaled="1"/>
                  <a:tileRect/>
                </a:gradFill>
                <a:latin typeface="Roboto Condensed Light"/>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Tree>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Full Width Columns:Bottom">
    <p:spTree>
      <p:nvGrpSpPr>
        <p:cNvPr id="1" name=""/>
        <p:cNvGrpSpPr/>
        <p:nvPr/>
      </p:nvGrpSpPr>
      <p:grpSpPr>
        <a:xfrm>
          <a:off x="0" y="0"/>
          <a:ext cx="0" cy="0"/>
          <a:chOff x="0" y="0"/>
          <a:chExt cx="0" cy="0"/>
        </a:xfrm>
      </p:grpSpPr>
      <p:sp>
        <p:nvSpPr>
          <p:cNvPr id="4" name="그림 개체 틀 3"/>
          <p:cNvSpPr>
            <a:spLocks noGrp="1"/>
          </p:cNvSpPr>
          <p:nvPr>
            <p:ph type="pic" sz="quarter" idx="15"/>
          </p:nvPr>
        </p:nvSpPr>
        <p:spPr>
          <a:xfrm>
            <a:off x="0" y="1527263"/>
            <a:ext cx="9144000" cy="3240000"/>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29" name="Text Placeholder 28"/>
          <p:cNvSpPr>
            <a:spLocks noGrp="1"/>
          </p:cNvSpPr>
          <p:nvPr>
            <p:ph type="body" sz="quarter" idx="14"/>
          </p:nvPr>
        </p:nvSpPr>
        <p:spPr>
          <a:xfrm>
            <a:off x="720726" y="886981"/>
            <a:ext cx="7702550" cy="496888"/>
          </a:xfrm>
          <a:prstGeom prst="rect">
            <a:avLst/>
          </a:prstGeom>
        </p:spPr>
        <p:txBody>
          <a:bodyPr lIns="0" tIns="0" rIns="0" bIns="0" numCol="2"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flip="none" rotWithShape="1">
                  <a:gsLst>
                    <a:gs pos="0">
                      <a:srgbClr val="2F3540"/>
                    </a:gs>
                    <a:gs pos="100000">
                      <a:srgbClr val="2F3540"/>
                    </a:gs>
                  </a:gsLst>
                  <a:lin ang="0" scaled="1"/>
                  <a:tileRect/>
                </a:gradFill>
                <a:latin typeface="Roboto Condensed Light"/>
                <a:ea typeface="+mn-ea"/>
                <a:cs typeface="+mn-cs"/>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 name="Title 2"/>
          <p:cNvSpPr>
            <a:spLocks noGrp="1"/>
          </p:cNvSpPr>
          <p:nvPr>
            <p:ph type="title"/>
          </p:nvPr>
        </p:nvSpPr>
        <p:spPr>
          <a:xfrm>
            <a:off x="720969" y="339329"/>
            <a:ext cx="7719646" cy="467915"/>
          </a:xfrm>
          <a:prstGeom prst="rect">
            <a:avLst/>
          </a:prstGeom>
        </p:spPr>
        <p:txBody>
          <a:bodyPr/>
          <a:lstStyle/>
          <a:p>
            <a:r>
              <a:rPr lang="en-US" dirty="0"/>
              <a:t>Click to edit Master title style</a:t>
            </a:r>
            <a:endParaRPr lang="en-US" dirty="0"/>
          </a:p>
        </p:txBody>
      </p:sp>
    </p:spTree>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 Columns:Left">
    <p:spTree>
      <p:nvGrpSpPr>
        <p:cNvPr id="1" name=""/>
        <p:cNvGrpSpPr/>
        <p:nvPr/>
      </p:nvGrpSpPr>
      <p:grpSpPr>
        <a:xfrm>
          <a:off x="0" y="0"/>
          <a:ext cx="0" cy="0"/>
          <a:chOff x="0" y="0"/>
          <a:chExt cx="0" cy="0"/>
        </a:xfrm>
      </p:grpSpPr>
      <p:sp>
        <p:nvSpPr>
          <p:cNvPr id="7" name="그림 개체 틀 6"/>
          <p:cNvSpPr>
            <a:spLocks noGrp="1"/>
          </p:cNvSpPr>
          <p:nvPr>
            <p:ph type="pic" sz="quarter" idx="15"/>
          </p:nvPr>
        </p:nvSpPr>
        <p:spPr>
          <a:xfrm>
            <a:off x="721478" y="886979"/>
            <a:ext cx="5723773" cy="3882681"/>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29" name="Text Placeholder 28"/>
          <p:cNvSpPr>
            <a:spLocks noGrp="1"/>
          </p:cNvSpPr>
          <p:nvPr>
            <p:ph type="body" sz="quarter" idx="14"/>
          </p:nvPr>
        </p:nvSpPr>
        <p:spPr>
          <a:xfrm>
            <a:off x="6661152" y="862543"/>
            <a:ext cx="1763713" cy="3882681"/>
          </a:xfrm>
          <a:prstGeom prst="rect">
            <a:avLst/>
          </a:prstGeom>
        </p:spPr>
        <p:txBody>
          <a:bodyPr lIns="0" tIns="0" rIns="0" bIns="0" numCol="1" spcCol="216000">
            <a:noAutofit/>
          </a:bodyPr>
          <a:lstStyle>
            <a:lvl1pPr marL="0" indent="0" algn="just">
              <a:buNone/>
              <a:defRPr lang="en-US" sz="60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 name="Title 2"/>
          <p:cNvSpPr>
            <a:spLocks noGrp="1"/>
          </p:cNvSpPr>
          <p:nvPr>
            <p:ph type="title"/>
          </p:nvPr>
        </p:nvSpPr>
        <p:spPr>
          <a:xfrm>
            <a:off x="720969" y="339329"/>
            <a:ext cx="7719646" cy="467915"/>
          </a:xfrm>
          <a:prstGeom prst="rect">
            <a:avLst/>
          </a:prstGeom>
        </p:spPr>
        <p:txBody>
          <a:bodyPr/>
          <a:lstStyle/>
          <a:p>
            <a:r>
              <a:rPr lang="en-US"/>
              <a:t>Click to edit Master title style</a:t>
            </a:r>
            <a:endParaRPr lang="en-US"/>
          </a:p>
        </p:txBody>
      </p:sp>
    </p:spTree>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 Columns:Right">
    <p:spTree>
      <p:nvGrpSpPr>
        <p:cNvPr id="1" name=""/>
        <p:cNvGrpSpPr/>
        <p:nvPr/>
      </p:nvGrpSpPr>
      <p:grpSpPr>
        <a:xfrm>
          <a:off x="0" y="0"/>
          <a:ext cx="0" cy="0"/>
          <a:chOff x="0" y="0"/>
          <a:chExt cx="0" cy="0"/>
        </a:xfrm>
      </p:grpSpPr>
      <p:sp>
        <p:nvSpPr>
          <p:cNvPr id="4" name="그림 개체 틀 3"/>
          <p:cNvSpPr>
            <a:spLocks noGrp="1"/>
          </p:cNvSpPr>
          <p:nvPr>
            <p:ph type="pic" sz="quarter" idx="15"/>
          </p:nvPr>
        </p:nvSpPr>
        <p:spPr>
          <a:xfrm>
            <a:off x="2701092" y="886979"/>
            <a:ext cx="5723773" cy="3882681"/>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29" name="Text Placeholder 28"/>
          <p:cNvSpPr>
            <a:spLocks noGrp="1"/>
          </p:cNvSpPr>
          <p:nvPr>
            <p:ph type="body" sz="quarter" idx="14"/>
          </p:nvPr>
        </p:nvSpPr>
        <p:spPr>
          <a:xfrm>
            <a:off x="720726" y="862543"/>
            <a:ext cx="1763713" cy="38826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 name="Title 2"/>
          <p:cNvSpPr>
            <a:spLocks noGrp="1"/>
          </p:cNvSpPr>
          <p:nvPr>
            <p:ph type="title"/>
          </p:nvPr>
        </p:nvSpPr>
        <p:spPr>
          <a:xfrm>
            <a:off x="720969" y="339329"/>
            <a:ext cx="7719646" cy="467915"/>
          </a:xfrm>
          <a:prstGeom prst="rect">
            <a:avLst/>
          </a:prstGeom>
        </p:spPr>
        <p:txBody>
          <a:bodyPr/>
          <a:lstStyle/>
          <a:p>
            <a:r>
              <a:rPr lang="en-US"/>
              <a:t>Click to edit Master title style</a:t>
            </a:r>
            <a:endParaRPr lang="en-US"/>
          </a:p>
        </p:txBody>
      </p:sp>
    </p:spTree>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 Vertical Columns : Left">
    <p:spTree>
      <p:nvGrpSpPr>
        <p:cNvPr id="1" name=""/>
        <p:cNvGrpSpPr/>
        <p:nvPr/>
      </p:nvGrpSpPr>
      <p:grpSpPr>
        <a:xfrm>
          <a:off x="0" y="0"/>
          <a:ext cx="0" cy="0"/>
          <a:chOff x="0" y="0"/>
          <a:chExt cx="0" cy="0"/>
        </a:xfrm>
      </p:grpSpPr>
      <p:sp>
        <p:nvSpPr>
          <p:cNvPr id="4" name="그림 개체 틀 3"/>
          <p:cNvSpPr>
            <a:spLocks noGrp="1"/>
          </p:cNvSpPr>
          <p:nvPr>
            <p:ph type="pic" sz="quarter" idx="16"/>
          </p:nvPr>
        </p:nvSpPr>
        <p:spPr>
          <a:xfrm>
            <a:off x="721478" y="879476"/>
            <a:ext cx="5723773" cy="1850577"/>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7" name="그림 개체 틀 6"/>
          <p:cNvSpPr>
            <a:spLocks noGrp="1"/>
          </p:cNvSpPr>
          <p:nvPr>
            <p:ph type="pic" sz="quarter" idx="17"/>
          </p:nvPr>
        </p:nvSpPr>
        <p:spPr>
          <a:xfrm>
            <a:off x="721478" y="2916686"/>
            <a:ext cx="5723773" cy="1850577"/>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29" name="Text Placeholder 28"/>
          <p:cNvSpPr>
            <a:spLocks noGrp="1"/>
          </p:cNvSpPr>
          <p:nvPr>
            <p:ph type="body" sz="quarter" idx="14"/>
          </p:nvPr>
        </p:nvSpPr>
        <p:spPr>
          <a:xfrm>
            <a:off x="6661152" y="862544"/>
            <a:ext cx="1763713" cy="1850577"/>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 name="Title 2"/>
          <p:cNvSpPr>
            <a:spLocks noGrp="1"/>
          </p:cNvSpPr>
          <p:nvPr>
            <p:ph type="title"/>
          </p:nvPr>
        </p:nvSpPr>
        <p:spPr>
          <a:xfrm>
            <a:off x="720969" y="339329"/>
            <a:ext cx="7719646" cy="467915"/>
          </a:xfrm>
          <a:prstGeom prst="rect">
            <a:avLst/>
          </a:prstGeom>
        </p:spPr>
        <p:txBody>
          <a:bodyPr/>
          <a:lstStyle/>
          <a:p>
            <a:r>
              <a:rPr lang="en-US"/>
              <a:t>Click to edit Master title style</a:t>
            </a:r>
            <a:endParaRPr lang="en-US"/>
          </a:p>
        </p:txBody>
      </p:sp>
      <p:sp>
        <p:nvSpPr>
          <p:cNvPr id="9" name="Text Placeholder 28"/>
          <p:cNvSpPr>
            <a:spLocks noGrp="1"/>
          </p:cNvSpPr>
          <p:nvPr>
            <p:ph type="body" sz="quarter" idx="15"/>
          </p:nvPr>
        </p:nvSpPr>
        <p:spPr>
          <a:xfrm>
            <a:off x="6661152" y="2899754"/>
            <a:ext cx="1763713" cy="1850577"/>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Tree>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 Vertical Columns : Right">
    <p:spTree>
      <p:nvGrpSpPr>
        <p:cNvPr id="1" name=""/>
        <p:cNvGrpSpPr/>
        <p:nvPr/>
      </p:nvGrpSpPr>
      <p:grpSpPr>
        <a:xfrm>
          <a:off x="0" y="0"/>
          <a:ext cx="0" cy="0"/>
          <a:chOff x="0" y="0"/>
          <a:chExt cx="0" cy="0"/>
        </a:xfrm>
      </p:grpSpPr>
      <p:sp>
        <p:nvSpPr>
          <p:cNvPr id="4" name="그림 개체 틀 3"/>
          <p:cNvSpPr>
            <a:spLocks noGrp="1"/>
          </p:cNvSpPr>
          <p:nvPr>
            <p:ph type="pic" sz="quarter" idx="16"/>
          </p:nvPr>
        </p:nvSpPr>
        <p:spPr>
          <a:xfrm>
            <a:off x="2699503" y="879476"/>
            <a:ext cx="5723773" cy="1850577"/>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7" name="그림 개체 틀 6"/>
          <p:cNvSpPr>
            <a:spLocks noGrp="1"/>
          </p:cNvSpPr>
          <p:nvPr>
            <p:ph type="pic" sz="quarter" idx="17"/>
          </p:nvPr>
        </p:nvSpPr>
        <p:spPr>
          <a:xfrm>
            <a:off x="2699503" y="2916686"/>
            <a:ext cx="5723773" cy="1850577"/>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29" name="Text Placeholder 28"/>
          <p:cNvSpPr>
            <a:spLocks noGrp="1"/>
          </p:cNvSpPr>
          <p:nvPr>
            <p:ph type="body" sz="quarter" idx="14"/>
          </p:nvPr>
        </p:nvSpPr>
        <p:spPr>
          <a:xfrm>
            <a:off x="720727" y="862544"/>
            <a:ext cx="1763713" cy="1850577"/>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 name="Title 2"/>
          <p:cNvSpPr>
            <a:spLocks noGrp="1"/>
          </p:cNvSpPr>
          <p:nvPr>
            <p:ph type="title"/>
          </p:nvPr>
        </p:nvSpPr>
        <p:spPr>
          <a:xfrm>
            <a:off x="720969" y="339329"/>
            <a:ext cx="7719646" cy="467915"/>
          </a:xfrm>
          <a:prstGeom prst="rect">
            <a:avLst/>
          </a:prstGeom>
        </p:spPr>
        <p:txBody>
          <a:bodyPr/>
          <a:lstStyle/>
          <a:p>
            <a:r>
              <a:rPr lang="en-US"/>
              <a:t>Click to edit Master title style</a:t>
            </a:r>
            <a:endParaRPr lang="en-US"/>
          </a:p>
        </p:txBody>
      </p:sp>
      <p:sp>
        <p:nvSpPr>
          <p:cNvPr id="9" name="Text Placeholder 28"/>
          <p:cNvSpPr>
            <a:spLocks noGrp="1"/>
          </p:cNvSpPr>
          <p:nvPr>
            <p:ph type="body" sz="quarter" idx="15"/>
          </p:nvPr>
        </p:nvSpPr>
        <p:spPr>
          <a:xfrm>
            <a:off x="720727" y="2899754"/>
            <a:ext cx="1763713" cy="1850577"/>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Tree>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 Columns:Bottom">
    <p:spTree>
      <p:nvGrpSpPr>
        <p:cNvPr id="1" name=""/>
        <p:cNvGrpSpPr/>
        <p:nvPr/>
      </p:nvGrpSpPr>
      <p:grpSpPr>
        <a:xfrm>
          <a:off x="0" y="0"/>
          <a:ext cx="0" cy="0"/>
          <a:chOff x="0" y="0"/>
          <a:chExt cx="0" cy="0"/>
        </a:xfrm>
      </p:grpSpPr>
      <p:sp>
        <p:nvSpPr>
          <p:cNvPr id="4" name="그림 개체 틀 3"/>
          <p:cNvSpPr>
            <a:spLocks noGrp="1"/>
          </p:cNvSpPr>
          <p:nvPr>
            <p:ph type="pic" sz="quarter" idx="16"/>
          </p:nvPr>
        </p:nvSpPr>
        <p:spPr>
          <a:xfrm>
            <a:off x="720726" y="1461912"/>
            <a:ext cx="3743325" cy="3305352"/>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9" name="그림 개체 틀 8"/>
          <p:cNvSpPr>
            <a:spLocks noGrp="1"/>
          </p:cNvSpPr>
          <p:nvPr>
            <p:ph type="pic" sz="quarter" idx="17"/>
          </p:nvPr>
        </p:nvSpPr>
        <p:spPr>
          <a:xfrm>
            <a:off x="4678365" y="1461912"/>
            <a:ext cx="3743325" cy="3305352"/>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29" name="Text Placeholder 28"/>
          <p:cNvSpPr>
            <a:spLocks noGrp="1"/>
          </p:cNvSpPr>
          <p:nvPr>
            <p:ph type="body" sz="quarter" idx="14"/>
          </p:nvPr>
        </p:nvSpPr>
        <p:spPr>
          <a:xfrm>
            <a:off x="720727" y="862544"/>
            <a:ext cx="3743325" cy="576792"/>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 name="Title 2"/>
          <p:cNvSpPr>
            <a:spLocks noGrp="1"/>
          </p:cNvSpPr>
          <p:nvPr>
            <p:ph type="title"/>
          </p:nvPr>
        </p:nvSpPr>
        <p:spPr>
          <a:xfrm>
            <a:off x="720969" y="339329"/>
            <a:ext cx="7719646" cy="467915"/>
          </a:xfrm>
          <a:prstGeom prst="rect">
            <a:avLst/>
          </a:prstGeom>
        </p:spPr>
        <p:txBody>
          <a:bodyPr/>
          <a:lstStyle/>
          <a:p>
            <a:r>
              <a:rPr lang="en-US"/>
              <a:t>Click to edit Master title style</a:t>
            </a:r>
            <a:endParaRPr lang="en-US"/>
          </a:p>
        </p:txBody>
      </p:sp>
      <p:sp>
        <p:nvSpPr>
          <p:cNvPr id="6" name="Text Placeholder 28"/>
          <p:cNvSpPr>
            <a:spLocks noGrp="1"/>
          </p:cNvSpPr>
          <p:nvPr>
            <p:ph type="body" sz="quarter" idx="15"/>
          </p:nvPr>
        </p:nvSpPr>
        <p:spPr>
          <a:xfrm>
            <a:off x="4678365" y="862544"/>
            <a:ext cx="3743325" cy="576792"/>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Tree>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 Columns:Top">
    <p:spTree>
      <p:nvGrpSpPr>
        <p:cNvPr id="1" name=""/>
        <p:cNvGrpSpPr/>
        <p:nvPr/>
      </p:nvGrpSpPr>
      <p:grpSpPr>
        <a:xfrm>
          <a:off x="0" y="0"/>
          <a:ext cx="0" cy="0"/>
          <a:chOff x="0" y="0"/>
          <a:chExt cx="0" cy="0"/>
        </a:xfrm>
      </p:grpSpPr>
      <p:sp>
        <p:nvSpPr>
          <p:cNvPr id="4" name="그림 개체 틀 3"/>
          <p:cNvSpPr>
            <a:spLocks noGrp="1"/>
          </p:cNvSpPr>
          <p:nvPr>
            <p:ph type="pic" sz="quarter" idx="17"/>
          </p:nvPr>
        </p:nvSpPr>
        <p:spPr>
          <a:xfrm>
            <a:off x="723899" y="879477"/>
            <a:ext cx="2420938" cy="3181423"/>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6" name="그림 개체 틀 5"/>
          <p:cNvSpPr>
            <a:spLocks noGrp="1"/>
          </p:cNvSpPr>
          <p:nvPr>
            <p:ph type="pic" sz="quarter" idx="18"/>
          </p:nvPr>
        </p:nvSpPr>
        <p:spPr>
          <a:xfrm>
            <a:off x="3367086" y="879477"/>
            <a:ext cx="2420938" cy="3181423"/>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8" name="그림 개체 틀 7"/>
          <p:cNvSpPr>
            <a:spLocks noGrp="1"/>
          </p:cNvSpPr>
          <p:nvPr>
            <p:ph type="pic" sz="quarter" idx="19"/>
          </p:nvPr>
        </p:nvSpPr>
        <p:spPr>
          <a:xfrm>
            <a:off x="6003925" y="879477"/>
            <a:ext cx="2420938" cy="3181423"/>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29" name="Text Placeholder 28"/>
          <p:cNvSpPr>
            <a:spLocks noGrp="1"/>
          </p:cNvSpPr>
          <p:nvPr>
            <p:ph type="body" sz="quarter" idx="14"/>
          </p:nvPr>
        </p:nvSpPr>
        <p:spPr>
          <a:xfrm>
            <a:off x="719140" y="4162177"/>
            <a:ext cx="2420937" cy="658180"/>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 name="Title 2"/>
          <p:cNvSpPr>
            <a:spLocks noGrp="1"/>
          </p:cNvSpPr>
          <p:nvPr>
            <p:ph type="title"/>
          </p:nvPr>
        </p:nvSpPr>
        <p:spPr>
          <a:xfrm>
            <a:off x="720969" y="339329"/>
            <a:ext cx="7719646" cy="467915"/>
          </a:xfrm>
          <a:prstGeom prst="rect">
            <a:avLst/>
          </a:prstGeom>
        </p:spPr>
        <p:txBody>
          <a:bodyPr/>
          <a:lstStyle/>
          <a:p>
            <a:r>
              <a:rPr lang="en-US"/>
              <a:t>Click to edit Master title style</a:t>
            </a:r>
            <a:endParaRPr lang="en-US"/>
          </a:p>
        </p:txBody>
      </p:sp>
      <p:sp>
        <p:nvSpPr>
          <p:cNvPr id="13" name="Text Placeholder 28"/>
          <p:cNvSpPr>
            <a:spLocks noGrp="1"/>
          </p:cNvSpPr>
          <p:nvPr>
            <p:ph type="body" sz="quarter" idx="15"/>
          </p:nvPr>
        </p:nvSpPr>
        <p:spPr>
          <a:xfrm>
            <a:off x="3362326" y="4162177"/>
            <a:ext cx="2420937" cy="658180"/>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14" name="Text Placeholder 28"/>
          <p:cNvSpPr>
            <a:spLocks noGrp="1"/>
          </p:cNvSpPr>
          <p:nvPr>
            <p:ph type="body" sz="quarter" idx="16"/>
          </p:nvPr>
        </p:nvSpPr>
        <p:spPr>
          <a:xfrm>
            <a:off x="6000752" y="4162177"/>
            <a:ext cx="2420937" cy="658180"/>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Tree>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 Columns:Bottom">
    <p:spTree>
      <p:nvGrpSpPr>
        <p:cNvPr id="1" name=""/>
        <p:cNvGrpSpPr/>
        <p:nvPr/>
      </p:nvGrpSpPr>
      <p:grpSpPr>
        <a:xfrm>
          <a:off x="0" y="0"/>
          <a:ext cx="0" cy="0"/>
          <a:chOff x="0" y="0"/>
          <a:chExt cx="0" cy="0"/>
        </a:xfrm>
      </p:grpSpPr>
      <p:sp>
        <p:nvSpPr>
          <p:cNvPr id="4" name="그림 개체 틀 3"/>
          <p:cNvSpPr>
            <a:spLocks noGrp="1"/>
          </p:cNvSpPr>
          <p:nvPr>
            <p:ph type="pic" sz="quarter" idx="17"/>
          </p:nvPr>
        </p:nvSpPr>
        <p:spPr>
          <a:xfrm>
            <a:off x="723899" y="1585841"/>
            <a:ext cx="2420938" cy="3181423"/>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6" name="그림 개체 틀 5"/>
          <p:cNvSpPr>
            <a:spLocks noGrp="1"/>
          </p:cNvSpPr>
          <p:nvPr>
            <p:ph type="pic" sz="quarter" idx="18"/>
          </p:nvPr>
        </p:nvSpPr>
        <p:spPr>
          <a:xfrm>
            <a:off x="3367086" y="1585841"/>
            <a:ext cx="2420938" cy="3181423"/>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8" name="그림 개체 틀 7"/>
          <p:cNvSpPr>
            <a:spLocks noGrp="1"/>
          </p:cNvSpPr>
          <p:nvPr>
            <p:ph type="pic" sz="quarter" idx="19"/>
          </p:nvPr>
        </p:nvSpPr>
        <p:spPr>
          <a:xfrm>
            <a:off x="6003925" y="1585841"/>
            <a:ext cx="2420938" cy="3181423"/>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29" name="Text Placeholder 28"/>
          <p:cNvSpPr>
            <a:spLocks noGrp="1"/>
          </p:cNvSpPr>
          <p:nvPr>
            <p:ph type="body" sz="quarter" idx="14"/>
          </p:nvPr>
        </p:nvSpPr>
        <p:spPr>
          <a:xfrm>
            <a:off x="720728" y="862545"/>
            <a:ext cx="2420937" cy="700967"/>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 name="Title 2"/>
          <p:cNvSpPr>
            <a:spLocks noGrp="1"/>
          </p:cNvSpPr>
          <p:nvPr>
            <p:ph type="title"/>
          </p:nvPr>
        </p:nvSpPr>
        <p:spPr>
          <a:xfrm>
            <a:off x="720969" y="339329"/>
            <a:ext cx="7719646" cy="467915"/>
          </a:xfrm>
          <a:prstGeom prst="rect">
            <a:avLst/>
          </a:prstGeom>
        </p:spPr>
        <p:txBody>
          <a:bodyPr/>
          <a:lstStyle/>
          <a:p>
            <a:r>
              <a:rPr lang="en-US"/>
              <a:t>Click to edit Master title style</a:t>
            </a:r>
            <a:endParaRPr lang="en-US"/>
          </a:p>
        </p:txBody>
      </p:sp>
      <p:sp>
        <p:nvSpPr>
          <p:cNvPr id="13" name="Text Placeholder 28"/>
          <p:cNvSpPr>
            <a:spLocks noGrp="1"/>
          </p:cNvSpPr>
          <p:nvPr>
            <p:ph type="body" sz="quarter" idx="15"/>
          </p:nvPr>
        </p:nvSpPr>
        <p:spPr>
          <a:xfrm>
            <a:off x="3363915" y="862545"/>
            <a:ext cx="2420937" cy="700967"/>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14" name="Text Placeholder 28"/>
          <p:cNvSpPr>
            <a:spLocks noGrp="1"/>
          </p:cNvSpPr>
          <p:nvPr>
            <p:ph type="body" sz="quarter" idx="16"/>
          </p:nvPr>
        </p:nvSpPr>
        <p:spPr>
          <a:xfrm>
            <a:off x="6002339" y="862545"/>
            <a:ext cx="2420937" cy="700967"/>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Tree>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 Columns:Top">
    <p:spTree>
      <p:nvGrpSpPr>
        <p:cNvPr id="1" name=""/>
        <p:cNvGrpSpPr/>
        <p:nvPr/>
      </p:nvGrpSpPr>
      <p:grpSpPr>
        <a:xfrm>
          <a:off x="0" y="0"/>
          <a:ext cx="0" cy="0"/>
          <a:chOff x="0" y="0"/>
          <a:chExt cx="0" cy="0"/>
        </a:xfrm>
      </p:grpSpPr>
      <p:sp>
        <p:nvSpPr>
          <p:cNvPr id="4" name="그림 개체 틀 3"/>
          <p:cNvSpPr>
            <a:spLocks noGrp="1"/>
          </p:cNvSpPr>
          <p:nvPr>
            <p:ph type="pic" sz="quarter" idx="18"/>
          </p:nvPr>
        </p:nvSpPr>
        <p:spPr>
          <a:xfrm>
            <a:off x="720725" y="879476"/>
            <a:ext cx="1763714" cy="3316641"/>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6" name="그림 개체 틀 5"/>
          <p:cNvSpPr>
            <a:spLocks noGrp="1"/>
          </p:cNvSpPr>
          <p:nvPr>
            <p:ph type="pic" sz="quarter" idx="19"/>
          </p:nvPr>
        </p:nvSpPr>
        <p:spPr>
          <a:xfrm>
            <a:off x="2700336" y="879476"/>
            <a:ext cx="1763714" cy="3316641"/>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8" name="그림 개체 틀 7"/>
          <p:cNvSpPr>
            <a:spLocks noGrp="1"/>
          </p:cNvSpPr>
          <p:nvPr>
            <p:ph type="pic" sz="quarter" idx="20"/>
          </p:nvPr>
        </p:nvSpPr>
        <p:spPr>
          <a:xfrm>
            <a:off x="4681538" y="879476"/>
            <a:ext cx="1763714" cy="3316641"/>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10" name="그림 개체 틀 9"/>
          <p:cNvSpPr>
            <a:spLocks noGrp="1"/>
          </p:cNvSpPr>
          <p:nvPr>
            <p:ph type="pic" sz="quarter" idx="21"/>
          </p:nvPr>
        </p:nvSpPr>
        <p:spPr>
          <a:xfrm>
            <a:off x="6661149" y="879476"/>
            <a:ext cx="1763714" cy="3316641"/>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29" name="Text Placeholder 28"/>
          <p:cNvSpPr>
            <a:spLocks noGrp="1"/>
          </p:cNvSpPr>
          <p:nvPr>
            <p:ph type="body" sz="quarter" idx="14"/>
          </p:nvPr>
        </p:nvSpPr>
        <p:spPr>
          <a:xfrm>
            <a:off x="720727" y="4280346"/>
            <a:ext cx="1763713" cy="608044"/>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 name="Title 2"/>
          <p:cNvSpPr>
            <a:spLocks noGrp="1"/>
          </p:cNvSpPr>
          <p:nvPr>
            <p:ph type="title"/>
          </p:nvPr>
        </p:nvSpPr>
        <p:spPr>
          <a:xfrm>
            <a:off x="720969" y="339329"/>
            <a:ext cx="7719646" cy="467915"/>
          </a:xfrm>
          <a:prstGeom prst="rect">
            <a:avLst/>
          </a:prstGeom>
        </p:spPr>
        <p:txBody>
          <a:bodyPr/>
          <a:lstStyle/>
          <a:p>
            <a:r>
              <a:rPr lang="en-US"/>
              <a:t>Click to edit Master title style</a:t>
            </a:r>
            <a:endParaRPr lang="en-US"/>
          </a:p>
        </p:txBody>
      </p:sp>
      <p:sp>
        <p:nvSpPr>
          <p:cNvPr id="19" name="Text Placeholder 28"/>
          <p:cNvSpPr>
            <a:spLocks noGrp="1"/>
          </p:cNvSpPr>
          <p:nvPr>
            <p:ph type="body" sz="quarter" idx="15"/>
          </p:nvPr>
        </p:nvSpPr>
        <p:spPr>
          <a:xfrm>
            <a:off x="2700339" y="4280346"/>
            <a:ext cx="1763713" cy="608044"/>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20" name="Text Placeholder 28"/>
          <p:cNvSpPr>
            <a:spLocks noGrp="1"/>
          </p:cNvSpPr>
          <p:nvPr>
            <p:ph type="body" sz="quarter" idx="16"/>
          </p:nvPr>
        </p:nvSpPr>
        <p:spPr>
          <a:xfrm>
            <a:off x="4678365" y="4280346"/>
            <a:ext cx="1763713" cy="608044"/>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21" name="Text Placeholder 28"/>
          <p:cNvSpPr>
            <a:spLocks noGrp="1"/>
          </p:cNvSpPr>
          <p:nvPr>
            <p:ph type="body" sz="quarter" idx="17"/>
          </p:nvPr>
        </p:nvSpPr>
        <p:spPr>
          <a:xfrm>
            <a:off x="6657977" y="4280346"/>
            <a:ext cx="1763713" cy="608044"/>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Tree>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Slide Map">
    <p:bg>
      <p:bgPr>
        <a:solidFill>
          <a:schemeClr val="tx2"/>
        </a:solidFill>
        <a:effectLst/>
      </p:bgPr>
    </p:bg>
    <p:spTree>
      <p:nvGrpSpPr>
        <p:cNvPr id="1" name=""/>
        <p:cNvGrpSpPr/>
        <p:nvPr/>
      </p:nvGrpSpPr>
      <p:grpSpPr>
        <a:xfrm>
          <a:off x="0" y="0"/>
          <a:ext cx="0" cy="0"/>
          <a:chOff x="0" y="0"/>
          <a:chExt cx="0" cy="0"/>
        </a:xfrm>
      </p:grpSpPr>
      <p:sp>
        <p:nvSpPr>
          <p:cNvPr id="3" name="자유형 41">
            <a:hlinkClick r:id="" action="ppaction://hlinkshowjump?jump=lastslideviewed"/>
          </p:cNvPr>
          <p:cNvSpPr/>
          <p:nvPr userDrawn="1"/>
        </p:nvSpPr>
        <p:spPr>
          <a:xfrm>
            <a:off x="8245475" y="339725"/>
            <a:ext cx="179388" cy="179388"/>
          </a:xfrm>
          <a:custGeom>
            <a:avLst/>
            <a:gdLst>
              <a:gd name="connsiteX0" fmla="*/ 47410 w 180020"/>
              <a:gd name="connsiteY0" fmla="*/ 109200 h 180020"/>
              <a:gd name="connsiteX1" fmla="*/ 47410 w 180020"/>
              <a:gd name="connsiteY1" fmla="*/ 120154 h 180020"/>
              <a:gd name="connsiteX2" fmla="*/ 132611 w 180020"/>
              <a:gd name="connsiteY2" fmla="*/ 120154 h 180020"/>
              <a:gd name="connsiteX3" fmla="*/ 132611 w 180020"/>
              <a:gd name="connsiteY3" fmla="*/ 109200 h 180020"/>
              <a:gd name="connsiteX4" fmla="*/ 47410 w 180020"/>
              <a:gd name="connsiteY4" fmla="*/ 84533 h 180020"/>
              <a:gd name="connsiteX5" fmla="*/ 47410 w 180020"/>
              <a:gd name="connsiteY5" fmla="*/ 95487 h 180020"/>
              <a:gd name="connsiteX6" fmla="*/ 132611 w 180020"/>
              <a:gd name="connsiteY6" fmla="*/ 95487 h 180020"/>
              <a:gd name="connsiteX7" fmla="*/ 132611 w 180020"/>
              <a:gd name="connsiteY7" fmla="*/ 84533 h 180020"/>
              <a:gd name="connsiteX8" fmla="*/ 47410 w 180020"/>
              <a:gd name="connsiteY8" fmla="*/ 59866 h 180020"/>
              <a:gd name="connsiteX9" fmla="*/ 47410 w 180020"/>
              <a:gd name="connsiteY9" fmla="*/ 70820 h 180020"/>
              <a:gd name="connsiteX10" fmla="*/ 132611 w 180020"/>
              <a:gd name="connsiteY10" fmla="*/ 70820 h 180020"/>
              <a:gd name="connsiteX11" fmla="*/ 132611 w 180020"/>
              <a:gd name="connsiteY11" fmla="*/ 59866 h 180020"/>
              <a:gd name="connsiteX12" fmla="*/ 90010 w 180020"/>
              <a:gd name="connsiteY12" fmla="*/ 0 h 180020"/>
              <a:gd name="connsiteX13" fmla="*/ 180020 w 180020"/>
              <a:gd name="connsiteY13" fmla="*/ 90010 h 180020"/>
              <a:gd name="connsiteX14" fmla="*/ 90010 w 180020"/>
              <a:gd name="connsiteY14" fmla="*/ 180020 h 180020"/>
              <a:gd name="connsiteX15" fmla="*/ 0 w 180020"/>
              <a:gd name="connsiteY15" fmla="*/ 90010 h 180020"/>
              <a:gd name="connsiteX16" fmla="*/ 90010 w 180020"/>
              <a:gd name="connsiteY16" fmla="*/ 0 h 18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020" h="180020">
                <a:moveTo>
                  <a:pt x="47410" y="109200"/>
                </a:moveTo>
                <a:lnTo>
                  <a:pt x="47410" y="120154"/>
                </a:lnTo>
                <a:lnTo>
                  <a:pt x="132611" y="120154"/>
                </a:lnTo>
                <a:lnTo>
                  <a:pt x="132611" y="109200"/>
                </a:lnTo>
                <a:close/>
                <a:moveTo>
                  <a:pt x="47410" y="84533"/>
                </a:moveTo>
                <a:lnTo>
                  <a:pt x="47410" y="95487"/>
                </a:lnTo>
                <a:lnTo>
                  <a:pt x="132611" y="95487"/>
                </a:lnTo>
                <a:lnTo>
                  <a:pt x="132611" y="84533"/>
                </a:lnTo>
                <a:close/>
                <a:moveTo>
                  <a:pt x="47410" y="59866"/>
                </a:moveTo>
                <a:lnTo>
                  <a:pt x="47410" y="70820"/>
                </a:lnTo>
                <a:lnTo>
                  <a:pt x="132611" y="70820"/>
                </a:lnTo>
                <a:lnTo>
                  <a:pt x="132611" y="59866"/>
                </a:lnTo>
                <a:close/>
                <a:moveTo>
                  <a:pt x="90010" y="0"/>
                </a:moveTo>
                <a:cubicBezTo>
                  <a:pt x="139721" y="0"/>
                  <a:pt x="180020" y="40299"/>
                  <a:pt x="180020" y="90010"/>
                </a:cubicBezTo>
                <a:cubicBezTo>
                  <a:pt x="180020" y="139721"/>
                  <a:pt x="139721" y="180020"/>
                  <a:pt x="90010" y="180020"/>
                </a:cubicBezTo>
                <a:cubicBezTo>
                  <a:pt x="40299" y="180020"/>
                  <a:pt x="0" y="139721"/>
                  <a:pt x="0" y="90010"/>
                </a:cubicBezTo>
                <a:cubicBezTo>
                  <a:pt x="0" y="40299"/>
                  <a:pt x="40299" y="0"/>
                  <a:pt x="90010" y="0"/>
                </a:cubicBezTo>
                <a:close/>
              </a:path>
            </a:pathLst>
          </a:custGeom>
          <a:solidFill>
            <a:schemeClr val="accent1"/>
          </a:solidFill>
          <a:ln>
            <a:noFill/>
          </a:ln>
        </p:spPr>
        <p:style>
          <a:lnRef idx="2">
            <a:schemeClr val="dk1"/>
          </a:lnRef>
          <a:fillRef idx="1">
            <a:schemeClr val="lt1"/>
          </a:fillRef>
          <a:effectRef idx="0">
            <a:schemeClr val="dk1"/>
          </a:effectRef>
          <a:fontRef idx="minor">
            <a:schemeClr val="dk1"/>
          </a:fontRef>
        </p:style>
        <p:txBody>
          <a:bodyPr anchor="ctr"/>
          <a:lstStyle/>
          <a:p>
            <a:pPr algn="ctr" eaLnBrk="1" fontAlgn="auto" latinLnBrk="1" hangingPunct="1">
              <a:spcBef>
                <a:spcPts val="0"/>
              </a:spcBef>
              <a:spcAft>
                <a:spcPts val="0"/>
              </a:spcAft>
              <a:defRPr/>
            </a:pPr>
            <a:endParaRPr lang="en-US" dirty="0"/>
          </a:p>
        </p:txBody>
      </p:sp>
      <p:sp>
        <p:nvSpPr>
          <p:cNvPr id="4" name="자유형 42">
            <a:hlinkClick r:id="" action="ppaction://hlinkshowjump?jump=nextslide"/>
          </p:cNvPr>
          <p:cNvSpPr/>
          <p:nvPr userDrawn="1"/>
        </p:nvSpPr>
        <p:spPr>
          <a:xfrm>
            <a:off x="8037513" y="339725"/>
            <a:ext cx="180975" cy="179388"/>
          </a:xfrm>
          <a:custGeom>
            <a:avLst/>
            <a:gdLst>
              <a:gd name="connsiteX0" fmla="*/ 70888 w 180020"/>
              <a:gd name="connsiteY0" fmla="*/ 36035 h 180020"/>
              <a:gd name="connsiteX1" fmla="*/ 70888 w 180020"/>
              <a:gd name="connsiteY1" fmla="*/ 53498 h 180020"/>
              <a:gd name="connsiteX2" fmla="*/ 115338 w 180020"/>
              <a:gd name="connsiteY2" fmla="*/ 90010 h 180020"/>
              <a:gd name="connsiteX3" fmla="*/ 70888 w 180020"/>
              <a:gd name="connsiteY3" fmla="*/ 126523 h 180020"/>
              <a:gd name="connsiteX4" fmla="*/ 70888 w 180020"/>
              <a:gd name="connsiteY4" fmla="*/ 143985 h 180020"/>
              <a:gd name="connsiteX5" fmla="*/ 135975 w 180020"/>
              <a:gd name="connsiteY5" fmla="*/ 90010 h 180020"/>
              <a:gd name="connsiteX6" fmla="*/ 90010 w 180020"/>
              <a:gd name="connsiteY6" fmla="*/ 0 h 180020"/>
              <a:gd name="connsiteX7" fmla="*/ 180020 w 180020"/>
              <a:gd name="connsiteY7" fmla="*/ 90010 h 180020"/>
              <a:gd name="connsiteX8" fmla="*/ 90010 w 180020"/>
              <a:gd name="connsiteY8" fmla="*/ 180020 h 180020"/>
              <a:gd name="connsiteX9" fmla="*/ 0 w 180020"/>
              <a:gd name="connsiteY9" fmla="*/ 90010 h 180020"/>
              <a:gd name="connsiteX10" fmla="*/ 90010 w 180020"/>
              <a:gd name="connsiteY10" fmla="*/ 0 h 18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0020" h="180020">
                <a:moveTo>
                  <a:pt x="70888" y="36035"/>
                </a:moveTo>
                <a:lnTo>
                  <a:pt x="70888" y="53498"/>
                </a:lnTo>
                <a:lnTo>
                  <a:pt x="115338" y="90010"/>
                </a:lnTo>
                <a:lnTo>
                  <a:pt x="70888" y="126523"/>
                </a:lnTo>
                <a:lnTo>
                  <a:pt x="70888" y="143985"/>
                </a:lnTo>
                <a:lnTo>
                  <a:pt x="135975" y="90010"/>
                </a:lnTo>
                <a:close/>
                <a:moveTo>
                  <a:pt x="90010" y="0"/>
                </a:moveTo>
                <a:cubicBezTo>
                  <a:pt x="139721" y="0"/>
                  <a:pt x="180020" y="40299"/>
                  <a:pt x="180020" y="90010"/>
                </a:cubicBezTo>
                <a:cubicBezTo>
                  <a:pt x="180020" y="139721"/>
                  <a:pt x="139721" y="180020"/>
                  <a:pt x="90010" y="180020"/>
                </a:cubicBezTo>
                <a:cubicBezTo>
                  <a:pt x="40299" y="180020"/>
                  <a:pt x="0" y="139721"/>
                  <a:pt x="0" y="90010"/>
                </a:cubicBezTo>
                <a:cubicBezTo>
                  <a:pt x="0" y="40299"/>
                  <a:pt x="40299" y="0"/>
                  <a:pt x="90010" y="0"/>
                </a:cubicBezTo>
                <a:close/>
              </a:path>
            </a:pathLst>
          </a:custGeom>
          <a:solidFill>
            <a:schemeClr val="bg1">
              <a:alpha val="20000"/>
            </a:schemeClr>
          </a:solidFill>
          <a:ln>
            <a:noFill/>
          </a:ln>
        </p:spPr>
        <p:style>
          <a:lnRef idx="2">
            <a:schemeClr val="dk1"/>
          </a:lnRef>
          <a:fillRef idx="1">
            <a:schemeClr val="lt1"/>
          </a:fillRef>
          <a:effectRef idx="0">
            <a:schemeClr val="dk1"/>
          </a:effectRef>
          <a:fontRef idx="minor">
            <a:schemeClr val="dk1"/>
          </a:fontRef>
        </p:style>
        <p:txBody>
          <a:bodyPr anchor="ctr"/>
          <a:lstStyle/>
          <a:p>
            <a:pPr algn="ctr" eaLnBrk="1" fontAlgn="auto" latinLnBrk="1" hangingPunct="1">
              <a:spcBef>
                <a:spcPts val="0"/>
              </a:spcBef>
              <a:spcAft>
                <a:spcPts val="0"/>
              </a:spcAft>
              <a:defRPr/>
            </a:pPr>
            <a:endParaRPr lang="en-US" dirty="0"/>
          </a:p>
        </p:txBody>
      </p:sp>
      <p:sp>
        <p:nvSpPr>
          <p:cNvPr id="5" name="자유형 43">
            <a:hlinkClick r:id="" action="ppaction://hlinkshowjump?jump=previousslide"/>
          </p:cNvPr>
          <p:cNvSpPr/>
          <p:nvPr userDrawn="1"/>
        </p:nvSpPr>
        <p:spPr>
          <a:xfrm flipH="1">
            <a:off x="7831138" y="339725"/>
            <a:ext cx="180975" cy="179388"/>
          </a:xfrm>
          <a:custGeom>
            <a:avLst/>
            <a:gdLst>
              <a:gd name="connsiteX0" fmla="*/ 70889 w 180020"/>
              <a:gd name="connsiteY0" fmla="*/ 36035 h 180020"/>
              <a:gd name="connsiteX1" fmla="*/ 135976 w 180020"/>
              <a:gd name="connsiteY1" fmla="*/ 90010 h 180020"/>
              <a:gd name="connsiteX2" fmla="*/ 70889 w 180020"/>
              <a:gd name="connsiteY2" fmla="*/ 143985 h 180020"/>
              <a:gd name="connsiteX3" fmla="*/ 70889 w 180020"/>
              <a:gd name="connsiteY3" fmla="*/ 126523 h 180020"/>
              <a:gd name="connsiteX4" fmla="*/ 115339 w 180020"/>
              <a:gd name="connsiteY4" fmla="*/ 90010 h 180020"/>
              <a:gd name="connsiteX5" fmla="*/ 70889 w 180020"/>
              <a:gd name="connsiteY5" fmla="*/ 53498 h 180020"/>
              <a:gd name="connsiteX6" fmla="*/ 90010 w 180020"/>
              <a:gd name="connsiteY6" fmla="*/ 0 h 180020"/>
              <a:gd name="connsiteX7" fmla="*/ 0 w 180020"/>
              <a:gd name="connsiteY7" fmla="*/ 90010 h 180020"/>
              <a:gd name="connsiteX8" fmla="*/ 90010 w 180020"/>
              <a:gd name="connsiteY8" fmla="*/ 180020 h 180020"/>
              <a:gd name="connsiteX9" fmla="*/ 180020 w 180020"/>
              <a:gd name="connsiteY9" fmla="*/ 90010 h 180020"/>
              <a:gd name="connsiteX10" fmla="*/ 90010 w 180020"/>
              <a:gd name="connsiteY10" fmla="*/ 0 h 18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0020" h="180020">
                <a:moveTo>
                  <a:pt x="70889" y="36035"/>
                </a:moveTo>
                <a:lnTo>
                  <a:pt x="135976" y="90010"/>
                </a:lnTo>
                <a:lnTo>
                  <a:pt x="70889" y="143985"/>
                </a:lnTo>
                <a:lnTo>
                  <a:pt x="70889" y="126523"/>
                </a:lnTo>
                <a:lnTo>
                  <a:pt x="115339" y="90010"/>
                </a:lnTo>
                <a:lnTo>
                  <a:pt x="70889" y="53498"/>
                </a:lnTo>
                <a:close/>
                <a:moveTo>
                  <a:pt x="90010" y="0"/>
                </a:moveTo>
                <a:cubicBezTo>
                  <a:pt x="40299" y="0"/>
                  <a:pt x="0" y="40299"/>
                  <a:pt x="0" y="90010"/>
                </a:cubicBezTo>
                <a:cubicBezTo>
                  <a:pt x="0" y="139721"/>
                  <a:pt x="40299" y="180020"/>
                  <a:pt x="90010" y="180020"/>
                </a:cubicBezTo>
                <a:cubicBezTo>
                  <a:pt x="139721" y="180020"/>
                  <a:pt x="180020" y="139721"/>
                  <a:pt x="180020" y="90010"/>
                </a:cubicBezTo>
                <a:cubicBezTo>
                  <a:pt x="180020" y="40299"/>
                  <a:pt x="139721" y="0"/>
                  <a:pt x="90010" y="0"/>
                </a:cubicBezTo>
                <a:close/>
              </a:path>
            </a:pathLst>
          </a:custGeom>
          <a:solidFill>
            <a:schemeClr val="bg1">
              <a:alpha val="20000"/>
            </a:schemeClr>
          </a:solidFill>
          <a:ln>
            <a:noFill/>
          </a:ln>
        </p:spPr>
        <p:style>
          <a:lnRef idx="2">
            <a:schemeClr val="dk1"/>
          </a:lnRef>
          <a:fillRef idx="1">
            <a:schemeClr val="lt1"/>
          </a:fillRef>
          <a:effectRef idx="0">
            <a:schemeClr val="dk1"/>
          </a:effectRef>
          <a:fontRef idx="minor">
            <a:schemeClr val="dk1"/>
          </a:fontRef>
        </p:style>
        <p:txBody>
          <a:bodyPr anchor="ctr"/>
          <a:lstStyle/>
          <a:p>
            <a:pPr algn="ctr" eaLnBrk="1" fontAlgn="auto" latinLnBrk="1" hangingPunct="1">
              <a:spcBef>
                <a:spcPts val="0"/>
              </a:spcBef>
              <a:spcAft>
                <a:spcPts val="0"/>
              </a:spcAft>
              <a:defRPr/>
            </a:pPr>
            <a:endParaRPr lang="en-US" dirty="0"/>
          </a:p>
        </p:txBody>
      </p:sp>
      <p:cxnSp>
        <p:nvCxnSpPr>
          <p:cNvPr id="6" name="직선 연결선 25"/>
          <p:cNvCxnSpPr/>
          <p:nvPr userDrawn="1"/>
        </p:nvCxnSpPr>
        <p:spPr>
          <a:xfrm>
            <a:off x="720725" y="742950"/>
            <a:ext cx="3238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gradFill flip="none" rotWithShape="1">
                  <a:gsLst>
                    <a:gs pos="0">
                      <a:schemeClr val="bg2"/>
                    </a:gs>
                    <a:gs pos="100000">
                      <a:schemeClr val="bg2"/>
                    </a:gs>
                  </a:gsLst>
                  <a:lin ang="0" scaled="1"/>
                  <a:tileRect/>
                </a:gradFill>
              </a:defRPr>
            </a:lvl1pPr>
          </a:lstStyle>
          <a:p>
            <a:r>
              <a:rPr lang="en-US"/>
              <a:t>Click to edit Master title style</a:t>
            </a:r>
            <a:endParaRPr lang="en-US" dirty="0"/>
          </a:p>
        </p:txBody>
      </p:sp>
    </p:spTree>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 Columns:Bottom">
    <p:spTree>
      <p:nvGrpSpPr>
        <p:cNvPr id="1" name=""/>
        <p:cNvGrpSpPr/>
        <p:nvPr/>
      </p:nvGrpSpPr>
      <p:grpSpPr>
        <a:xfrm>
          <a:off x="0" y="0"/>
          <a:ext cx="0" cy="0"/>
          <a:chOff x="0" y="0"/>
          <a:chExt cx="0" cy="0"/>
        </a:xfrm>
      </p:grpSpPr>
      <p:sp>
        <p:nvSpPr>
          <p:cNvPr id="4" name="그림 개체 틀 3"/>
          <p:cNvSpPr>
            <a:spLocks noGrp="1"/>
          </p:cNvSpPr>
          <p:nvPr>
            <p:ph type="pic" sz="quarter" idx="18"/>
          </p:nvPr>
        </p:nvSpPr>
        <p:spPr>
          <a:xfrm>
            <a:off x="720725" y="1450622"/>
            <a:ext cx="1763714" cy="3316641"/>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6" name="그림 개체 틀 5"/>
          <p:cNvSpPr>
            <a:spLocks noGrp="1"/>
          </p:cNvSpPr>
          <p:nvPr>
            <p:ph type="pic" sz="quarter" idx="19"/>
          </p:nvPr>
        </p:nvSpPr>
        <p:spPr>
          <a:xfrm>
            <a:off x="2700336" y="1450622"/>
            <a:ext cx="1763714" cy="3316641"/>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8" name="그림 개체 틀 7"/>
          <p:cNvSpPr>
            <a:spLocks noGrp="1"/>
          </p:cNvSpPr>
          <p:nvPr>
            <p:ph type="pic" sz="quarter" idx="20"/>
          </p:nvPr>
        </p:nvSpPr>
        <p:spPr>
          <a:xfrm>
            <a:off x="4681538" y="1450622"/>
            <a:ext cx="1763714" cy="3316641"/>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10" name="그림 개체 틀 9"/>
          <p:cNvSpPr>
            <a:spLocks noGrp="1"/>
          </p:cNvSpPr>
          <p:nvPr>
            <p:ph type="pic" sz="quarter" idx="21"/>
          </p:nvPr>
        </p:nvSpPr>
        <p:spPr>
          <a:xfrm>
            <a:off x="6661149" y="1450622"/>
            <a:ext cx="1763714" cy="3316641"/>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29" name="Text Placeholder 28"/>
          <p:cNvSpPr>
            <a:spLocks noGrp="1"/>
          </p:cNvSpPr>
          <p:nvPr>
            <p:ph type="body" sz="quarter" idx="14"/>
          </p:nvPr>
        </p:nvSpPr>
        <p:spPr>
          <a:xfrm>
            <a:off x="720727" y="862767"/>
            <a:ext cx="1763713" cy="608044"/>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 name="Title 2"/>
          <p:cNvSpPr>
            <a:spLocks noGrp="1"/>
          </p:cNvSpPr>
          <p:nvPr>
            <p:ph type="title"/>
          </p:nvPr>
        </p:nvSpPr>
        <p:spPr>
          <a:xfrm>
            <a:off x="720969" y="339329"/>
            <a:ext cx="7719646" cy="467915"/>
          </a:xfrm>
          <a:prstGeom prst="rect">
            <a:avLst/>
          </a:prstGeom>
        </p:spPr>
        <p:txBody>
          <a:bodyPr/>
          <a:lstStyle/>
          <a:p>
            <a:r>
              <a:rPr lang="en-US"/>
              <a:t>Click to edit Master title style</a:t>
            </a:r>
            <a:endParaRPr lang="en-US"/>
          </a:p>
        </p:txBody>
      </p:sp>
      <p:sp>
        <p:nvSpPr>
          <p:cNvPr id="19" name="Text Placeholder 28"/>
          <p:cNvSpPr>
            <a:spLocks noGrp="1"/>
          </p:cNvSpPr>
          <p:nvPr>
            <p:ph type="body" sz="quarter" idx="15"/>
          </p:nvPr>
        </p:nvSpPr>
        <p:spPr>
          <a:xfrm>
            <a:off x="2700339" y="862767"/>
            <a:ext cx="1763713" cy="608044"/>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20" name="Text Placeholder 28"/>
          <p:cNvSpPr>
            <a:spLocks noGrp="1"/>
          </p:cNvSpPr>
          <p:nvPr>
            <p:ph type="body" sz="quarter" idx="16"/>
          </p:nvPr>
        </p:nvSpPr>
        <p:spPr>
          <a:xfrm>
            <a:off x="4678365" y="862767"/>
            <a:ext cx="1763713" cy="608044"/>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21" name="Text Placeholder 28"/>
          <p:cNvSpPr>
            <a:spLocks noGrp="1"/>
          </p:cNvSpPr>
          <p:nvPr>
            <p:ph type="body" sz="quarter" idx="17"/>
          </p:nvPr>
        </p:nvSpPr>
        <p:spPr>
          <a:xfrm>
            <a:off x="6657977" y="862767"/>
            <a:ext cx="1763713" cy="608044"/>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Tree>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 Columns:2x2">
    <p:spTree>
      <p:nvGrpSpPr>
        <p:cNvPr id="1" name=""/>
        <p:cNvGrpSpPr/>
        <p:nvPr/>
      </p:nvGrpSpPr>
      <p:grpSpPr>
        <a:xfrm>
          <a:off x="0" y="0"/>
          <a:ext cx="0" cy="0"/>
          <a:chOff x="0" y="0"/>
          <a:chExt cx="0" cy="0"/>
        </a:xfrm>
      </p:grpSpPr>
      <p:sp>
        <p:nvSpPr>
          <p:cNvPr id="4" name="그림 개체 틀 3"/>
          <p:cNvSpPr>
            <a:spLocks noGrp="1"/>
          </p:cNvSpPr>
          <p:nvPr>
            <p:ph type="pic" sz="quarter" idx="18"/>
          </p:nvPr>
        </p:nvSpPr>
        <p:spPr>
          <a:xfrm>
            <a:off x="720727" y="879476"/>
            <a:ext cx="3743325"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6" name="그림 개체 틀 5"/>
          <p:cNvSpPr>
            <a:spLocks noGrp="1"/>
          </p:cNvSpPr>
          <p:nvPr>
            <p:ph type="pic" sz="quarter" idx="19"/>
          </p:nvPr>
        </p:nvSpPr>
        <p:spPr>
          <a:xfrm>
            <a:off x="4678365" y="879476"/>
            <a:ext cx="3743325"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8" name="그림 개체 틀 7"/>
          <p:cNvSpPr>
            <a:spLocks noGrp="1"/>
          </p:cNvSpPr>
          <p:nvPr>
            <p:ph type="pic" sz="quarter" idx="20"/>
          </p:nvPr>
        </p:nvSpPr>
        <p:spPr>
          <a:xfrm>
            <a:off x="720727" y="2890364"/>
            <a:ext cx="3743325"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11" name="그림 개체 틀 10"/>
          <p:cNvSpPr>
            <a:spLocks noGrp="1"/>
          </p:cNvSpPr>
          <p:nvPr>
            <p:ph type="pic" sz="quarter" idx="21"/>
          </p:nvPr>
        </p:nvSpPr>
        <p:spPr>
          <a:xfrm>
            <a:off x="4678365" y="2890364"/>
            <a:ext cx="3743325"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29" name="Text Placeholder 28"/>
          <p:cNvSpPr>
            <a:spLocks noGrp="1"/>
          </p:cNvSpPr>
          <p:nvPr>
            <p:ph type="body" sz="quarter" idx="14"/>
          </p:nvPr>
        </p:nvSpPr>
        <p:spPr>
          <a:xfrm>
            <a:off x="720727" y="2486960"/>
            <a:ext cx="3743325"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 name="Title 2"/>
          <p:cNvSpPr>
            <a:spLocks noGrp="1"/>
          </p:cNvSpPr>
          <p:nvPr>
            <p:ph type="title"/>
          </p:nvPr>
        </p:nvSpPr>
        <p:spPr>
          <a:xfrm>
            <a:off x="720969" y="339329"/>
            <a:ext cx="7719646" cy="467915"/>
          </a:xfrm>
          <a:prstGeom prst="rect">
            <a:avLst/>
          </a:prstGeom>
        </p:spPr>
        <p:txBody>
          <a:bodyPr/>
          <a:lstStyle/>
          <a:p>
            <a:r>
              <a:rPr lang="en-US"/>
              <a:t>Click to edit Master title style</a:t>
            </a:r>
            <a:endParaRPr lang="en-US"/>
          </a:p>
        </p:txBody>
      </p:sp>
      <p:sp>
        <p:nvSpPr>
          <p:cNvPr id="14" name="Text Placeholder 28"/>
          <p:cNvSpPr>
            <a:spLocks noGrp="1"/>
          </p:cNvSpPr>
          <p:nvPr>
            <p:ph type="body" sz="quarter" idx="15"/>
          </p:nvPr>
        </p:nvSpPr>
        <p:spPr>
          <a:xfrm>
            <a:off x="4678365" y="2486960"/>
            <a:ext cx="3743325"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16" name="Text Placeholder 28"/>
          <p:cNvSpPr>
            <a:spLocks noGrp="1"/>
          </p:cNvSpPr>
          <p:nvPr>
            <p:ph type="body" sz="quarter" idx="16"/>
          </p:nvPr>
        </p:nvSpPr>
        <p:spPr>
          <a:xfrm>
            <a:off x="720727" y="4503516"/>
            <a:ext cx="3743325"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18" name="Text Placeholder 28"/>
          <p:cNvSpPr>
            <a:spLocks noGrp="1"/>
          </p:cNvSpPr>
          <p:nvPr>
            <p:ph type="body" sz="quarter" idx="17"/>
          </p:nvPr>
        </p:nvSpPr>
        <p:spPr>
          <a:xfrm>
            <a:off x="4678365" y="4503516"/>
            <a:ext cx="3743325"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Tree>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720969" y="339329"/>
            <a:ext cx="7719646" cy="467915"/>
          </a:xfrm>
          <a:prstGeom prst="rect">
            <a:avLst/>
          </a:prstGeom>
        </p:spPr>
        <p:txBody>
          <a:bodyPr/>
          <a:lstStyle/>
          <a:p>
            <a:r>
              <a:rPr lang="en-US"/>
              <a:t>Click to edit Master title style</a:t>
            </a:r>
            <a:endParaRPr lang="en-IN"/>
          </a:p>
        </p:txBody>
      </p:sp>
    </p:spTree>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6 Columns:3x2">
    <p:spTree>
      <p:nvGrpSpPr>
        <p:cNvPr id="1" name=""/>
        <p:cNvGrpSpPr/>
        <p:nvPr/>
      </p:nvGrpSpPr>
      <p:grpSpPr>
        <a:xfrm>
          <a:off x="0" y="0"/>
          <a:ext cx="0" cy="0"/>
          <a:chOff x="0" y="0"/>
          <a:chExt cx="0" cy="0"/>
        </a:xfrm>
      </p:grpSpPr>
      <p:sp>
        <p:nvSpPr>
          <p:cNvPr id="4" name="그림 개체 틀 3"/>
          <p:cNvSpPr>
            <a:spLocks noGrp="1"/>
          </p:cNvSpPr>
          <p:nvPr>
            <p:ph type="pic" sz="quarter" idx="22"/>
          </p:nvPr>
        </p:nvSpPr>
        <p:spPr>
          <a:xfrm>
            <a:off x="720728" y="879476"/>
            <a:ext cx="2420937"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6" name="그림 개체 틀 5"/>
          <p:cNvSpPr>
            <a:spLocks noGrp="1"/>
          </p:cNvSpPr>
          <p:nvPr>
            <p:ph type="pic" sz="quarter" idx="23"/>
          </p:nvPr>
        </p:nvSpPr>
        <p:spPr>
          <a:xfrm>
            <a:off x="3357564" y="879476"/>
            <a:ext cx="2420937"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8" name="그림 개체 틀 7"/>
          <p:cNvSpPr>
            <a:spLocks noGrp="1"/>
          </p:cNvSpPr>
          <p:nvPr>
            <p:ph type="pic" sz="quarter" idx="24"/>
          </p:nvPr>
        </p:nvSpPr>
        <p:spPr>
          <a:xfrm>
            <a:off x="6000752" y="879476"/>
            <a:ext cx="2420937"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14" name="그림 개체 틀 13"/>
          <p:cNvSpPr>
            <a:spLocks noGrp="1"/>
          </p:cNvSpPr>
          <p:nvPr>
            <p:ph type="pic" sz="quarter" idx="25"/>
          </p:nvPr>
        </p:nvSpPr>
        <p:spPr>
          <a:xfrm>
            <a:off x="720728" y="2892089"/>
            <a:ext cx="2420937"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16" name="그림 개체 틀 15"/>
          <p:cNvSpPr>
            <a:spLocks noGrp="1"/>
          </p:cNvSpPr>
          <p:nvPr>
            <p:ph type="pic" sz="quarter" idx="26"/>
          </p:nvPr>
        </p:nvSpPr>
        <p:spPr>
          <a:xfrm>
            <a:off x="3357564" y="2892089"/>
            <a:ext cx="2420937"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18" name="그림 개체 틀 17"/>
          <p:cNvSpPr>
            <a:spLocks noGrp="1"/>
          </p:cNvSpPr>
          <p:nvPr>
            <p:ph type="pic" sz="quarter" idx="27"/>
          </p:nvPr>
        </p:nvSpPr>
        <p:spPr>
          <a:xfrm>
            <a:off x="6002339" y="2892089"/>
            <a:ext cx="2420937"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29" name="Text Placeholder 28"/>
          <p:cNvSpPr>
            <a:spLocks noGrp="1"/>
          </p:cNvSpPr>
          <p:nvPr>
            <p:ph type="body" sz="quarter" idx="14"/>
          </p:nvPr>
        </p:nvSpPr>
        <p:spPr>
          <a:xfrm>
            <a:off x="720726" y="2486960"/>
            <a:ext cx="2420806"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 name="Title 2"/>
          <p:cNvSpPr>
            <a:spLocks noGrp="1"/>
          </p:cNvSpPr>
          <p:nvPr>
            <p:ph type="title"/>
          </p:nvPr>
        </p:nvSpPr>
        <p:spPr>
          <a:xfrm>
            <a:off x="720969" y="339329"/>
            <a:ext cx="7719646" cy="467915"/>
          </a:xfrm>
          <a:prstGeom prst="rect">
            <a:avLst/>
          </a:prstGeom>
        </p:spPr>
        <p:txBody>
          <a:bodyPr/>
          <a:lstStyle/>
          <a:p>
            <a:r>
              <a:rPr lang="en-US"/>
              <a:t>Click to edit Master title style</a:t>
            </a:r>
            <a:endParaRPr lang="en-US"/>
          </a:p>
        </p:txBody>
      </p:sp>
      <p:sp>
        <p:nvSpPr>
          <p:cNvPr id="11" name="Text Placeholder 28"/>
          <p:cNvSpPr>
            <a:spLocks noGrp="1"/>
          </p:cNvSpPr>
          <p:nvPr>
            <p:ph type="body" sz="quarter" idx="17"/>
          </p:nvPr>
        </p:nvSpPr>
        <p:spPr>
          <a:xfrm>
            <a:off x="3357563" y="2486960"/>
            <a:ext cx="2420806"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13" name="Text Placeholder 28"/>
          <p:cNvSpPr>
            <a:spLocks noGrp="1"/>
          </p:cNvSpPr>
          <p:nvPr>
            <p:ph type="body" sz="quarter" idx="18"/>
          </p:nvPr>
        </p:nvSpPr>
        <p:spPr>
          <a:xfrm>
            <a:off x="6000750" y="2486960"/>
            <a:ext cx="2420806"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21" name="Text Placeholder 28"/>
          <p:cNvSpPr>
            <a:spLocks noGrp="1"/>
          </p:cNvSpPr>
          <p:nvPr>
            <p:ph type="body" sz="quarter" idx="19"/>
          </p:nvPr>
        </p:nvSpPr>
        <p:spPr>
          <a:xfrm>
            <a:off x="720726" y="4499573"/>
            <a:ext cx="2420806"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23" name="Text Placeholder 28"/>
          <p:cNvSpPr>
            <a:spLocks noGrp="1"/>
          </p:cNvSpPr>
          <p:nvPr>
            <p:ph type="body" sz="quarter" idx="20"/>
          </p:nvPr>
        </p:nvSpPr>
        <p:spPr>
          <a:xfrm>
            <a:off x="3357563" y="4499573"/>
            <a:ext cx="2420806"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25" name="Text Placeholder 28"/>
          <p:cNvSpPr>
            <a:spLocks noGrp="1"/>
          </p:cNvSpPr>
          <p:nvPr>
            <p:ph type="body" sz="quarter" idx="21"/>
          </p:nvPr>
        </p:nvSpPr>
        <p:spPr>
          <a:xfrm>
            <a:off x="6002338" y="4499573"/>
            <a:ext cx="2420806"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Tree>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8 Columns:4x2">
    <p:spTree>
      <p:nvGrpSpPr>
        <p:cNvPr id="1" name=""/>
        <p:cNvGrpSpPr/>
        <p:nvPr/>
      </p:nvGrpSpPr>
      <p:grpSpPr>
        <a:xfrm>
          <a:off x="0" y="0"/>
          <a:ext cx="0" cy="0"/>
          <a:chOff x="0" y="0"/>
          <a:chExt cx="0" cy="0"/>
        </a:xfrm>
      </p:grpSpPr>
      <p:sp>
        <p:nvSpPr>
          <p:cNvPr id="4" name="그림 개체 틀 3"/>
          <p:cNvSpPr>
            <a:spLocks noGrp="1"/>
          </p:cNvSpPr>
          <p:nvPr>
            <p:ph type="pic" sz="quarter" idx="27"/>
          </p:nvPr>
        </p:nvSpPr>
        <p:spPr>
          <a:xfrm>
            <a:off x="720727" y="879476"/>
            <a:ext cx="1763713"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6" name="그림 개체 틀 5"/>
          <p:cNvSpPr>
            <a:spLocks noGrp="1"/>
          </p:cNvSpPr>
          <p:nvPr>
            <p:ph type="pic" sz="quarter" idx="28"/>
          </p:nvPr>
        </p:nvSpPr>
        <p:spPr>
          <a:xfrm>
            <a:off x="2700345" y="879476"/>
            <a:ext cx="1763713"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8" name="그림 개체 틀 7"/>
          <p:cNvSpPr>
            <a:spLocks noGrp="1"/>
          </p:cNvSpPr>
          <p:nvPr>
            <p:ph type="pic" sz="quarter" idx="29"/>
          </p:nvPr>
        </p:nvSpPr>
        <p:spPr>
          <a:xfrm>
            <a:off x="4678365" y="879476"/>
            <a:ext cx="1763713"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11" name="그림 개체 틀 10"/>
          <p:cNvSpPr>
            <a:spLocks noGrp="1"/>
          </p:cNvSpPr>
          <p:nvPr>
            <p:ph type="pic" sz="quarter" idx="30"/>
          </p:nvPr>
        </p:nvSpPr>
        <p:spPr>
          <a:xfrm>
            <a:off x="6661157" y="879476"/>
            <a:ext cx="1763713"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13" name="그림 개체 틀 12"/>
          <p:cNvSpPr>
            <a:spLocks noGrp="1"/>
          </p:cNvSpPr>
          <p:nvPr>
            <p:ph type="pic" sz="quarter" idx="31"/>
          </p:nvPr>
        </p:nvSpPr>
        <p:spPr>
          <a:xfrm>
            <a:off x="720827" y="2890364"/>
            <a:ext cx="1763713"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15" name="그림 개체 틀 14"/>
          <p:cNvSpPr>
            <a:spLocks noGrp="1"/>
          </p:cNvSpPr>
          <p:nvPr>
            <p:ph type="pic" sz="quarter" idx="32"/>
          </p:nvPr>
        </p:nvSpPr>
        <p:spPr>
          <a:xfrm>
            <a:off x="2700345" y="2890364"/>
            <a:ext cx="1763713"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20" name="그림 개체 틀 19"/>
          <p:cNvSpPr>
            <a:spLocks noGrp="1"/>
          </p:cNvSpPr>
          <p:nvPr>
            <p:ph type="pic" sz="quarter" idx="33"/>
          </p:nvPr>
        </p:nvSpPr>
        <p:spPr>
          <a:xfrm>
            <a:off x="4681539" y="2890364"/>
            <a:ext cx="1763713"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22" name="그림 개체 틀 21"/>
          <p:cNvSpPr>
            <a:spLocks noGrp="1"/>
          </p:cNvSpPr>
          <p:nvPr>
            <p:ph type="pic" sz="quarter" idx="34"/>
          </p:nvPr>
        </p:nvSpPr>
        <p:spPr>
          <a:xfrm>
            <a:off x="6661157" y="2890364"/>
            <a:ext cx="1763713" cy="1532475"/>
          </a:xfrm>
          <a:prstGeom prst="rect">
            <a:avLst/>
          </a:prstGeom>
          <a:pattFill prst="ltDnDiag">
            <a:fgClr>
              <a:schemeClr val="accent6">
                <a:lumMod val="75000"/>
              </a:schemeClr>
            </a:fgClr>
            <a:bgClr>
              <a:schemeClr val="accent6"/>
            </a:bgClr>
          </a:patt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257175" indent="-257175" algn="ctr">
              <a:buNone/>
              <a:defRPr lang="ko-KR" altLang="en-US" sz="750" kern="1200" baseline="0" dirty="0">
                <a:solidFill>
                  <a:schemeClr val="tx1"/>
                </a:solidFill>
                <a:latin typeface="+mn-lt"/>
                <a:ea typeface="+mn-ea"/>
                <a:cs typeface="+mn-cs"/>
              </a:defRPr>
            </a:lvl1pPr>
          </a:lstStyle>
          <a:p>
            <a:pPr lvl="0"/>
            <a:r>
              <a:rPr lang="en-US" altLang="ko-KR" noProof="0"/>
              <a:t>Click icon to add picture</a:t>
            </a:r>
            <a:endParaRPr lang="ko-KR" altLang="en-US" noProof="0" dirty="0"/>
          </a:p>
        </p:txBody>
      </p:sp>
      <p:sp>
        <p:nvSpPr>
          <p:cNvPr id="29" name="Text Placeholder 28"/>
          <p:cNvSpPr>
            <a:spLocks noGrp="1"/>
          </p:cNvSpPr>
          <p:nvPr>
            <p:ph type="body" sz="quarter" idx="14"/>
          </p:nvPr>
        </p:nvSpPr>
        <p:spPr>
          <a:xfrm>
            <a:off x="720720" y="2486960"/>
            <a:ext cx="1763618"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 name="Title 2"/>
          <p:cNvSpPr>
            <a:spLocks noGrp="1"/>
          </p:cNvSpPr>
          <p:nvPr>
            <p:ph type="title"/>
          </p:nvPr>
        </p:nvSpPr>
        <p:spPr>
          <a:xfrm>
            <a:off x="720969" y="339329"/>
            <a:ext cx="7719646" cy="467915"/>
          </a:xfrm>
          <a:prstGeom prst="rect">
            <a:avLst/>
          </a:prstGeom>
        </p:spPr>
        <p:txBody>
          <a:bodyPr/>
          <a:lstStyle/>
          <a:p>
            <a:r>
              <a:rPr lang="en-US"/>
              <a:t>Click to edit Master title style</a:t>
            </a:r>
            <a:endParaRPr lang="en-US"/>
          </a:p>
        </p:txBody>
      </p:sp>
      <p:sp>
        <p:nvSpPr>
          <p:cNvPr id="17" name="Text Placeholder 28"/>
          <p:cNvSpPr>
            <a:spLocks noGrp="1"/>
          </p:cNvSpPr>
          <p:nvPr>
            <p:ph type="body" sz="quarter" idx="20"/>
          </p:nvPr>
        </p:nvSpPr>
        <p:spPr>
          <a:xfrm>
            <a:off x="2700338" y="2486960"/>
            <a:ext cx="1763618"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19" name="Text Placeholder 28"/>
          <p:cNvSpPr>
            <a:spLocks noGrp="1"/>
          </p:cNvSpPr>
          <p:nvPr>
            <p:ph type="body" sz="quarter" idx="21"/>
          </p:nvPr>
        </p:nvSpPr>
        <p:spPr>
          <a:xfrm>
            <a:off x="4678358" y="2486960"/>
            <a:ext cx="1763618"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28" name="Text Placeholder 28"/>
          <p:cNvSpPr>
            <a:spLocks noGrp="1"/>
          </p:cNvSpPr>
          <p:nvPr>
            <p:ph type="body" sz="quarter" idx="22"/>
          </p:nvPr>
        </p:nvSpPr>
        <p:spPr>
          <a:xfrm>
            <a:off x="6661150" y="2486960"/>
            <a:ext cx="1763618"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1" name="Text Placeholder 28"/>
          <p:cNvSpPr>
            <a:spLocks noGrp="1"/>
          </p:cNvSpPr>
          <p:nvPr>
            <p:ph type="body" sz="quarter" idx="23"/>
          </p:nvPr>
        </p:nvSpPr>
        <p:spPr>
          <a:xfrm>
            <a:off x="720820" y="4497848"/>
            <a:ext cx="1763618"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3" name="Text Placeholder 28"/>
          <p:cNvSpPr>
            <a:spLocks noGrp="1"/>
          </p:cNvSpPr>
          <p:nvPr>
            <p:ph type="body" sz="quarter" idx="24"/>
          </p:nvPr>
        </p:nvSpPr>
        <p:spPr>
          <a:xfrm>
            <a:off x="2700338" y="4497848"/>
            <a:ext cx="1763618"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5" name="Text Placeholder 28"/>
          <p:cNvSpPr>
            <a:spLocks noGrp="1"/>
          </p:cNvSpPr>
          <p:nvPr>
            <p:ph type="body" sz="quarter" idx="25"/>
          </p:nvPr>
        </p:nvSpPr>
        <p:spPr>
          <a:xfrm>
            <a:off x="4681532" y="4497848"/>
            <a:ext cx="1763618"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
        <p:nvSpPr>
          <p:cNvPr id="37" name="Text Placeholder 28"/>
          <p:cNvSpPr>
            <a:spLocks noGrp="1"/>
          </p:cNvSpPr>
          <p:nvPr>
            <p:ph type="body" sz="quarter" idx="26"/>
          </p:nvPr>
        </p:nvSpPr>
        <p:spPr>
          <a:xfrm>
            <a:off x="6661150" y="4497848"/>
            <a:ext cx="1763618" cy="359381"/>
          </a:xfrm>
          <a:prstGeom prst="rect">
            <a:avLst/>
          </a:prstGeom>
        </p:spPr>
        <p:txBody>
          <a:bodyPr lIns="0" tIns="0" rIns="0" bIns="0" numCol="1" spcCol="216000">
            <a:noAutofit/>
          </a:bodyPr>
          <a:lstStyle>
            <a:lvl1pPr marL="0" indent="0" algn="just">
              <a:buNone/>
              <a:defRPr lang="en-US" sz="600" b="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0" indent="0" algn="just">
              <a:buNone/>
              <a:defRPr lang="en-US" sz="600" kern="1200" dirty="0">
                <a:gradFill>
                  <a:gsLst>
                    <a:gs pos="0">
                      <a:schemeClr val="tx1">
                        <a:alpha val="70000"/>
                      </a:schemeClr>
                    </a:gs>
                    <a:gs pos="100000">
                      <a:schemeClr val="tx1">
                        <a:alpha val="70000"/>
                      </a:schemeClr>
                    </a:gs>
                  </a:gsLst>
                  <a:lin ang="5400000" scaled="0"/>
                </a:gradFill>
                <a:latin typeface="+mn-lt"/>
                <a:ea typeface="+mn-ea"/>
                <a:cs typeface="Roboto Condensed Regular"/>
              </a:defRPr>
            </a:lvl2pPr>
            <a:lvl3pPr marL="0" indent="0">
              <a:buNone/>
              <a:defRPr sz="600">
                <a:gradFill flip="none" rotWithShape="1">
                  <a:gsLst>
                    <a:gs pos="0">
                      <a:srgbClr val="2F3540"/>
                    </a:gs>
                    <a:gs pos="100000">
                      <a:srgbClr val="2F3540"/>
                    </a:gs>
                  </a:gsLst>
                  <a:lin ang="0" scaled="1"/>
                  <a:tileRect/>
                </a:gradFill>
                <a:latin typeface="Roboto Condensed Light"/>
              </a:defRPr>
            </a:lvl3pPr>
            <a:lvl4pPr marL="0" indent="0">
              <a:buNone/>
              <a:defRPr sz="600">
                <a:gradFill flip="none" rotWithShape="1">
                  <a:gsLst>
                    <a:gs pos="0">
                      <a:srgbClr val="2F3540"/>
                    </a:gs>
                    <a:gs pos="100000">
                      <a:srgbClr val="2F3540"/>
                    </a:gs>
                  </a:gsLst>
                  <a:lin ang="0" scaled="1"/>
                  <a:tileRect/>
                </a:gradFill>
                <a:latin typeface="Roboto Condensed Light"/>
              </a:defRPr>
            </a:lvl4pPr>
            <a:lvl5pPr marL="0" indent="0">
              <a:buNone/>
              <a:defRPr sz="600">
                <a:gradFill flip="none" rotWithShape="1">
                  <a:gsLst>
                    <a:gs pos="0">
                      <a:srgbClr val="2F3540"/>
                    </a:gs>
                    <a:gs pos="100000">
                      <a:srgbClr val="2F3540"/>
                    </a:gs>
                  </a:gsLst>
                  <a:lin ang="0" scaled="1"/>
                  <a:tileRect/>
                </a:gradFill>
                <a:latin typeface="Roboto Condensed Light"/>
              </a:defRPr>
            </a:lvl5pPr>
          </a:lstStyle>
          <a:p>
            <a:pPr lvl="0"/>
            <a:r>
              <a:rPr lang="en-US"/>
              <a:t>Click to edit Master text styles</a:t>
            </a:r>
            <a:endParaRPr lang="en-US"/>
          </a:p>
        </p:txBody>
      </p:sp>
    </p:spTree>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Content with Msg Text">
    <p:spTree>
      <p:nvGrpSpPr>
        <p:cNvPr id="1" name=""/>
        <p:cNvGrpSpPr/>
        <p:nvPr/>
      </p:nvGrpSpPr>
      <p:grpSpPr>
        <a:xfrm>
          <a:off x="0" y="0"/>
          <a:ext cx="0" cy="0"/>
          <a:chOff x="0" y="0"/>
          <a:chExt cx="0" cy="0"/>
        </a:xfrm>
      </p:grpSpPr>
      <p:sp>
        <p:nvSpPr>
          <p:cNvPr id="2" name="Title 1"/>
          <p:cNvSpPr>
            <a:spLocks noGrp="1"/>
          </p:cNvSpPr>
          <p:nvPr>
            <p:ph type="title"/>
          </p:nvPr>
        </p:nvSpPr>
        <p:spPr>
          <a:xfrm>
            <a:off x="563562" y="172642"/>
            <a:ext cx="8156448" cy="301228"/>
          </a:xfrm>
          <a:prstGeom prst="rect">
            <a:avLst/>
          </a:prstGeo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63562" y="585786"/>
            <a:ext cx="8156448" cy="301752"/>
          </a:xfrm>
          <a:prstGeom prst="rect">
            <a:avLst/>
          </a:prstGeom>
          <a:solidFill>
            <a:schemeClr val="bg2"/>
          </a:solidFill>
        </p:spPr>
        <p:txBody>
          <a:bodyPr/>
          <a:lstStyle>
            <a:lvl1pPr marL="0" indent="0">
              <a:spcBef>
                <a:spcPts val="0"/>
              </a:spcBef>
              <a:buFontTx/>
              <a:buNone/>
              <a:defRPr sz="675"/>
            </a:lvl1pPr>
          </a:lstStyle>
          <a:p>
            <a:pPr lvl="0"/>
            <a:r>
              <a:rPr lang="en-US"/>
              <a:t>Click to edit Master text styles</a:t>
            </a:r>
            <a:endParaRPr lang="en-US"/>
          </a:p>
        </p:txBody>
      </p:sp>
      <p:sp>
        <p:nvSpPr>
          <p:cNvPr id="7" name="Content Placeholder 6"/>
          <p:cNvSpPr>
            <a:spLocks noGrp="1"/>
          </p:cNvSpPr>
          <p:nvPr>
            <p:ph sz="quarter" idx="11"/>
          </p:nvPr>
        </p:nvSpPr>
        <p:spPr>
          <a:xfrm>
            <a:off x="563562" y="964404"/>
            <a:ext cx="8156448" cy="3737610"/>
          </a:xfrm>
          <a:prstGeom prst="rect">
            <a:avLst/>
          </a:prstGeo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p:txBody>
      </p:sp>
    </p:spTree>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 x 2">
    <p:spTree>
      <p:nvGrpSpPr>
        <p:cNvPr id="1" name=""/>
        <p:cNvGrpSpPr/>
        <p:nvPr/>
      </p:nvGrpSpPr>
      <p:grpSpPr>
        <a:xfrm>
          <a:off x="0" y="0"/>
          <a:ext cx="0" cy="0"/>
          <a:chOff x="0" y="0"/>
          <a:chExt cx="0" cy="0"/>
        </a:xfrm>
      </p:grpSpPr>
      <p:sp>
        <p:nvSpPr>
          <p:cNvPr id="2" name="Title 1"/>
          <p:cNvSpPr>
            <a:spLocks noGrp="1"/>
          </p:cNvSpPr>
          <p:nvPr>
            <p:ph type="title"/>
          </p:nvPr>
        </p:nvSpPr>
        <p:spPr>
          <a:xfrm>
            <a:off x="563562" y="172642"/>
            <a:ext cx="8156448" cy="301228"/>
          </a:xfrm>
          <a:prstGeom prst="rect">
            <a:avLst/>
          </a:prstGeom>
        </p:spPr>
        <p:txBody>
          <a:bodyPr/>
          <a:lstStyle/>
          <a:p>
            <a:r>
              <a:rPr lang="en-US"/>
              <a:t>Click to edit Master title style</a:t>
            </a:r>
            <a:endParaRPr lang="en-US"/>
          </a:p>
        </p:txBody>
      </p:sp>
      <p:sp>
        <p:nvSpPr>
          <p:cNvPr id="3" name="Text Placeholder 2"/>
          <p:cNvSpPr>
            <a:spLocks noGrp="1"/>
          </p:cNvSpPr>
          <p:nvPr>
            <p:ph type="body" idx="1"/>
          </p:nvPr>
        </p:nvSpPr>
        <p:spPr>
          <a:xfrm>
            <a:off x="566928" y="966978"/>
            <a:ext cx="3995928" cy="171450"/>
          </a:xfrm>
          <a:prstGeom prst="rect">
            <a:avLst/>
          </a:prstGeom>
          <a:solidFill>
            <a:schemeClr val="accent1"/>
          </a:solidFill>
        </p:spPr>
        <p:txBody>
          <a:bodyPr anchor="b"/>
          <a:lstStyle>
            <a:lvl1pPr marL="0" indent="0" algn="l">
              <a:buNone/>
              <a:defRPr sz="75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endParaRPr lang="en-US"/>
          </a:p>
        </p:txBody>
      </p:sp>
      <p:sp>
        <p:nvSpPr>
          <p:cNvPr id="4" name="Content Placeholder 3"/>
          <p:cNvSpPr>
            <a:spLocks noGrp="1"/>
          </p:cNvSpPr>
          <p:nvPr>
            <p:ph sz="half" idx="2"/>
          </p:nvPr>
        </p:nvSpPr>
        <p:spPr>
          <a:xfrm>
            <a:off x="566928" y="1131570"/>
            <a:ext cx="3995928" cy="1611630"/>
          </a:xfrm>
          <a:prstGeom prst="rect">
            <a:avLst/>
          </a:prstGeom>
        </p:spPr>
        <p:txBody>
          <a:bodyPr/>
          <a:lstStyle>
            <a:lvl1pPr>
              <a:defRPr sz="750"/>
            </a:lvl1pPr>
            <a:lvl2pPr>
              <a:defRPr sz="750"/>
            </a:lvl2pPr>
            <a:lvl3pPr>
              <a:defRPr sz="750"/>
            </a:lvl3pPr>
            <a:lvl4pPr>
              <a:defRPr sz="750"/>
            </a:lvl4pPr>
            <a:lvl5pPr>
              <a:defRPr sz="900"/>
            </a:lvl5pPr>
            <a:lvl6pPr>
              <a:defRPr sz="1200"/>
            </a:lvl6pPr>
            <a:lvl7pPr>
              <a:defRPr sz="1200"/>
            </a:lvl7pPr>
            <a:lvl8pPr>
              <a:defRPr sz="1200"/>
            </a:lvl8pPr>
            <a:lvl9pPr>
              <a:defRPr sz="12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p:txBody>
      </p:sp>
      <p:sp>
        <p:nvSpPr>
          <p:cNvPr id="5" name="Text Placeholder 2"/>
          <p:cNvSpPr>
            <a:spLocks noGrp="1"/>
          </p:cNvSpPr>
          <p:nvPr>
            <p:ph type="body" idx="10"/>
          </p:nvPr>
        </p:nvSpPr>
        <p:spPr>
          <a:xfrm>
            <a:off x="4724082" y="966978"/>
            <a:ext cx="3995928" cy="171450"/>
          </a:xfrm>
          <a:prstGeom prst="rect">
            <a:avLst/>
          </a:prstGeom>
          <a:solidFill>
            <a:schemeClr val="accent1"/>
          </a:solidFill>
        </p:spPr>
        <p:txBody>
          <a:bodyPr anchor="b"/>
          <a:lstStyle>
            <a:lvl1pPr marL="0" indent="0" algn="l">
              <a:buNone/>
              <a:defRPr sz="75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endParaRPr lang="en-US"/>
          </a:p>
        </p:txBody>
      </p:sp>
      <p:sp>
        <p:nvSpPr>
          <p:cNvPr id="6" name="Content Placeholder 3"/>
          <p:cNvSpPr>
            <a:spLocks noGrp="1"/>
          </p:cNvSpPr>
          <p:nvPr>
            <p:ph sz="half" idx="11"/>
          </p:nvPr>
        </p:nvSpPr>
        <p:spPr>
          <a:xfrm>
            <a:off x="4724082" y="1131570"/>
            <a:ext cx="3995928" cy="1611630"/>
          </a:xfrm>
          <a:prstGeom prst="rect">
            <a:avLst/>
          </a:prstGeom>
        </p:spPr>
        <p:txBody>
          <a:bodyPr/>
          <a:lstStyle>
            <a:lvl1pPr>
              <a:defRPr sz="750"/>
            </a:lvl1pPr>
            <a:lvl2pPr>
              <a:defRPr sz="750"/>
            </a:lvl2pPr>
            <a:lvl3pPr>
              <a:defRPr sz="750"/>
            </a:lvl3pPr>
            <a:lvl4pPr>
              <a:defRPr sz="750"/>
            </a:lvl4pPr>
            <a:lvl5pPr>
              <a:defRPr sz="900"/>
            </a:lvl5pPr>
            <a:lvl6pPr>
              <a:defRPr sz="1200"/>
            </a:lvl6pPr>
            <a:lvl7pPr>
              <a:defRPr sz="1200"/>
            </a:lvl7pPr>
            <a:lvl8pPr>
              <a:defRPr sz="1200"/>
            </a:lvl8pPr>
            <a:lvl9pPr>
              <a:defRPr sz="12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p:txBody>
      </p:sp>
      <p:sp>
        <p:nvSpPr>
          <p:cNvPr id="8" name="Text Placeholder 2"/>
          <p:cNvSpPr>
            <a:spLocks noGrp="1"/>
          </p:cNvSpPr>
          <p:nvPr>
            <p:ph type="body" idx="12"/>
          </p:nvPr>
        </p:nvSpPr>
        <p:spPr>
          <a:xfrm>
            <a:off x="566928" y="2914650"/>
            <a:ext cx="3995928" cy="171450"/>
          </a:xfrm>
          <a:prstGeom prst="rect">
            <a:avLst/>
          </a:prstGeom>
          <a:solidFill>
            <a:schemeClr val="accent1"/>
          </a:solidFill>
        </p:spPr>
        <p:txBody>
          <a:bodyPr anchor="b"/>
          <a:lstStyle>
            <a:lvl1pPr marL="0" indent="0" algn="l">
              <a:buNone/>
              <a:defRPr sz="750" b="1"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endParaRPr lang="en-US"/>
          </a:p>
        </p:txBody>
      </p:sp>
      <p:sp>
        <p:nvSpPr>
          <p:cNvPr id="9" name="Content Placeholder 3"/>
          <p:cNvSpPr>
            <a:spLocks noGrp="1"/>
          </p:cNvSpPr>
          <p:nvPr>
            <p:ph sz="half" idx="13"/>
          </p:nvPr>
        </p:nvSpPr>
        <p:spPr>
          <a:xfrm>
            <a:off x="566928" y="3090149"/>
            <a:ext cx="3995928" cy="1611630"/>
          </a:xfrm>
          <a:prstGeom prst="rect">
            <a:avLst/>
          </a:prstGeom>
        </p:spPr>
        <p:txBody>
          <a:bodyPr/>
          <a:lstStyle>
            <a:lvl1pPr>
              <a:defRPr sz="750"/>
            </a:lvl1pPr>
            <a:lvl2pPr>
              <a:defRPr sz="750"/>
            </a:lvl2pPr>
            <a:lvl3pPr>
              <a:defRPr sz="750"/>
            </a:lvl3pPr>
            <a:lvl4pPr>
              <a:defRPr sz="750"/>
            </a:lvl4pPr>
            <a:lvl5pPr>
              <a:defRPr sz="900"/>
            </a:lvl5pPr>
            <a:lvl6pPr>
              <a:defRPr sz="1200"/>
            </a:lvl6pPr>
            <a:lvl7pPr>
              <a:defRPr sz="1200"/>
            </a:lvl7pPr>
            <a:lvl8pPr>
              <a:defRPr sz="1200"/>
            </a:lvl8pPr>
            <a:lvl9pPr>
              <a:defRPr sz="12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p:txBody>
      </p:sp>
      <p:sp>
        <p:nvSpPr>
          <p:cNvPr id="10" name="Text Placeholder 2"/>
          <p:cNvSpPr>
            <a:spLocks noGrp="1"/>
          </p:cNvSpPr>
          <p:nvPr>
            <p:ph type="body" idx="14"/>
          </p:nvPr>
        </p:nvSpPr>
        <p:spPr>
          <a:xfrm>
            <a:off x="4724082" y="2914650"/>
            <a:ext cx="3995928" cy="171450"/>
          </a:xfrm>
          <a:prstGeom prst="rect">
            <a:avLst/>
          </a:prstGeom>
          <a:solidFill>
            <a:schemeClr val="accent1"/>
          </a:solidFill>
        </p:spPr>
        <p:txBody>
          <a:bodyPr anchor="b"/>
          <a:lstStyle>
            <a:lvl1pPr marL="0" indent="0" algn="l">
              <a:buNone/>
              <a:defRPr sz="75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endParaRPr lang="en-US" dirty="0"/>
          </a:p>
        </p:txBody>
      </p:sp>
      <p:sp>
        <p:nvSpPr>
          <p:cNvPr id="11" name="Content Placeholder 3"/>
          <p:cNvSpPr>
            <a:spLocks noGrp="1"/>
          </p:cNvSpPr>
          <p:nvPr>
            <p:ph sz="half" idx="15"/>
          </p:nvPr>
        </p:nvSpPr>
        <p:spPr>
          <a:xfrm>
            <a:off x="4724082" y="3090149"/>
            <a:ext cx="3995928" cy="1611630"/>
          </a:xfrm>
          <a:prstGeom prst="rect">
            <a:avLst/>
          </a:prstGeom>
        </p:spPr>
        <p:txBody>
          <a:bodyPr/>
          <a:lstStyle>
            <a:lvl1pPr>
              <a:defRPr sz="750"/>
            </a:lvl1pPr>
            <a:lvl2pPr>
              <a:defRPr sz="750"/>
            </a:lvl2pPr>
            <a:lvl3pPr>
              <a:defRPr sz="750"/>
            </a:lvl3pPr>
            <a:lvl4pPr>
              <a:defRPr sz="750"/>
            </a:lvl4pPr>
            <a:lvl5pPr>
              <a:defRPr sz="900"/>
            </a:lvl5pPr>
            <a:lvl6pPr>
              <a:defRPr sz="1200"/>
            </a:lvl6pPr>
            <a:lvl7pPr>
              <a:defRPr sz="1200"/>
            </a:lvl7pPr>
            <a:lvl8pPr>
              <a:defRPr sz="1200"/>
            </a:lvl8pPr>
            <a:lvl9pPr>
              <a:defRPr sz="12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p:txBody>
      </p:sp>
      <p:sp>
        <p:nvSpPr>
          <p:cNvPr id="13" name="Text Placeholder 4"/>
          <p:cNvSpPr>
            <a:spLocks noGrp="1"/>
          </p:cNvSpPr>
          <p:nvPr>
            <p:ph type="body" sz="quarter" idx="16"/>
          </p:nvPr>
        </p:nvSpPr>
        <p:spPr>
          <a:xfrm>
            <a:off x="563562" y="585786"/>
            <a:ext cx="8156448" cy="301752"/>
          </a:xfrm>
          <a:prstGeom prst="rect">
            <a:avLst/>
          </a:prstGeom>
          <a:solidFill>
            <a:schemeClr val="bg2"/>
          </a:solidFill>
        </p:spPr>
        <p:txBody>
          <a:bodyPr/>
          <a:lstStyle>
            <a:lvl1pPr marL="0" indent="0">
              <a:spcBef>
                <a:spcPts val="0"/>
              </a:spcBef>
              <a:buFontTx/>
              <a:buNone/>
              <a:defRPr sz="675"/>
            </a:lvl1pPr>
          </a:lstStyle>
          <a:p>
            <a:pPr lvl="0"/>
            <a:r>
              <a:rPr lang="en-US"/>
              <a:t>Click to edit Master text styles</a:t>
            </a:r>
            <a:endParaRPr lang="en-US"/>
          </a:p>
        </p:txBody>
      </p:sp>
    </p:spTree>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imple Title">
    <p:spTree>
      <p:nvGrpSpPr>
        <p:cNvPr id="1" name=""/>
        <p:cNvGrpSpPr/>
        <p:nvPr/>
      </p:nvGrpSpPr>
      <p:grpSpPr>
        <a:xfrm>
          <a:off x="0" y="0"/>
          <a:ext cx="0" cy="0"/>
          <a:chOff x="0" y="0"/>
          <a:chExt cx="0" cy="0"/>
        </a:xfrm>
      </p:grpSpPr>
      <p:sp>
        <p:nvSpPr>
          <p:cNvPr id="2" name="Title 1"/>
          <p:cNvSpPr>
            <a:spLocks noGrp="1"/>
          </p:cNvSpPr>
          <p:nvPr>
            <p:ph type="title"/>
          </p:nvPr>
        </p:nvSpPr>
        <p:spPr>
          <a:xfrm>
            <a:off x="563562" y="226315"/>
            <a:ext cx="8156448" cy="301228"/>
          </a:xfrm>
          <a:prstGeom prst="rect">
            <a:avLst/>
          </a:prstGeom>
        </p:spPr>
        <p:txBody>
          <a:bodyPr/>
          <a:lstStyle/>
          <a:p>
            <a:r>
              <a:rPr lang="en-US" dirty="0"/>
              <a:t>Click to edit Master title style</a:t>
            </a:r>
            <a:endParaRPr lang="en-US" dirty="0"/>
          </a:p>
        </p:txBody>
      </p:sp>
    </p:spTree>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720969" y="339329"/>
            <a:ext cx="7719646" cy="467915"/>
          </a:xfrm>
          <a:prstGeom prst="rect">
            <a:avLst/>
          </a:prstGeom>
        </p:spPr>
        <p:txBody>
          <a:bodyPr/>
          <a:lstStyle/>
          <a:p>
            <a:r>
              <a:rPr lang="en-US"/>
              <a:t>Click to edit Master title style</a:t>
            </a:r>
            <a:endParaRPr lang="en-IN"/>
          </a:p>
        </p:txBody>
      </p:sp>
    </p:spTree>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Section Break">
    <p:bg>
      <p:bgPr>
        <a:solidFill>
          <a:srgbClr val="FFFFFF"/>
        </a:solidFill>
        <a:effectLst/>
      </p:bgPr>
    </p:bg>
    <p:spTree>
      <p:nvGrpSpPr>
        <p:cNvPr id="1" name=""/>
        <p:cNvGrpSpPr/>
        <p:nvPr/>
      </p:nvGrpSpPr>
      <p:grpSpPr>
        <a:xfrm>
          <a:off x="0" y="0"/>
          <a:ext cx="0" cy="0"/>
          <a:chOff x="0" y="0"/>
          <a:chExt cx="0" cy="0"/>
        </a:xfrm>
      </p:grpSpPr>
      <p:sp>
        <p:nvSpPr>
          <p:cNvPr id="5" name="그림 개체 틀 4"/>
          <p:cNvSpPr>
            <a:spLocks noGrp="1"/>
          </p:cNvSpPr>
          <p:nvPr>
            <p:ph type="pic" sz="quarter" idx="10"/>
          </p:nvPr>
        </p:nvSpPr>
        <p:spPr>
          <a:xfrm>
            <a:off x="0" y="450"/>
            <a:ext cx="9144000" cy="5143500"/>
          </a:xfrm>
          <a:prstGeom prst="rect">
            <a:avLst/>
          </a:prstGeom>
        </p:spPr>
        <p:txBody>
          <a:bodyPr anchor="ctr"/>
          <a:lstStyle>
            <a:lvl1pPr marL="0" indent="0" algn="ctr">
              <a:buNone/>
              <a:defRPr sz="1000">
                <a:solidFill>
                  <a:srgbClr val="2F3540"/>
                </a:solidFill>
              </a:defRPr>
            </a:lvl1pPr>
          </a:lstStyle>
          <a:p>
            <a:pPr lvl="0"/>
            <a:r>
              <a:rPr lang="en-US" altLang="ko-KR" noProof="0"/>
              <a:t>Click icon to add picture</a:t>
            </a:r>
            <a:endParaRPr lang="ko-KR" altLang="en-US" noProof="0" dirty="0"/>
          </a:p>
        </p:txBody>
      </p:sp>
    </p:spTree>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Basic Layout with Text_Lef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endParaRPr lang="en-US" dirty="0"/>
          </a:p>
        </p:txBody>
      </p:sp>
      <p:sp>
        <p:nvSpPr>
          <p:cNvPr id="5" name="텍스트 개체 틀 4"/>
          <p:cNvSpPr>
            <a:spLocks noGrp="1"/>
          </p:cNvSpPr>
          <p:nvPr>
            <p:ph type="body" sz="quarter" idx="10"/>
          </p:nvPr>
        </p:nvSpPr>
        <p:spPr>
          <a:xfrm>
            <a:off x="720726" y="879476"/>
            <a:ext cx="1763713" cy="2994125"/>
          </a:xfrm>
          <a:prstGeom prst="rect">
            <a:avLst/>
          </a:prstGeom>
        </p:spPr>
        <p:txBody>
          <a:bodyPr lIns="0" tIns="0" rIns="0" bIns="0"/>
          <a:lstStyle>
            <a:lvl1pPr marL="0" indent="0" algn="just">
              <a:buNone/>
              <a:defRPr lang="en-US" altLang="ko-KR" sz="65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371475" indent="0">
              <a:buNone/>
              <a:defRPr lang="ko-KR" altLang="en-US" sz="650" kern="1200" dirty="0" smtClean="0">
                <a:gradFill flip="none" rotWithShape="1">
                  <a:gsLst>
                    <a:gs pos="0">
                      <a:srgbClr val="2F3540"/>
                    </a:gs>
                    <a:gs pos="100000">
                      <a:srgbClr val="2F3540"/>
                    </a:gs>
                  </a:gsLst>
                  <a:lin ang="0" scaled="1"/>
                  <a:tileRect/>
                </a:gradFill>
                <a:latin typeface="Roboto Condensed Light"/>
                <a:ea typeface="+mn-ea"/>
                <a:cs typeface="+mn-cs"/>
              </a:defRPr>
            </a:lvl2pPr>
            <a:lvl3pPr marL="742950" indent="0">
              <a:buNone/>
              <a:defRPr lang="ko-KR" altLang="en-US" sz="650" kern="1200" dirty="0" smtClean="0">
                <a:gradFill flip="none" rotWithShape="1">
                  <a:gsLst>
                    <a:gs pos="0">
                      <a:srgbClr val="2F3540"/>
                    </a:gs>
                    <a:gs pos="100000">
                      <a:srgbClr val="2F3540"/>
                    </a:gs>
                  </a:gsLst>
                  <a:lin ang="0" scaled="1"/>
                  <a:tileRect/>
                </a:gradFill>
                <a:latin typeface="Roboto Condensed Light"/>
                <a:ea typeface="+mn-ea"/>
                <a:cs typeface="+mn-cs"/>
              </a:defRPr>
            </a:lvl3pPr>
            <a:lvl4pPr marL="1114425" indent="0">
              <a:buNone/>
              <a:defRPr lang="ko-KR" altLang="en-US" sz="650" kern="1200" dirty="0" smtClean="0">
                <a:gradFill flip="none" rotWithShape="1">
                  <a:gsLst>
                    <a:gs pos="0">
                      <a:srgbClr val="2F3540"/>
                    </a:gs>
                    <a:gs pos="100000">
                      <a:srgbClr val="2F3540"/>
                    </a:gs>
                  </a:gsLst>
                  <a:lin ang="0" scaled="1"/>
                  <a:tileRect/>
                </a:gradFill>
                <a:latin typeface="Roboto Condensed Light"/>
                <a:ea typeface="+mn-ea"/>
                <a:cs typeface="+mn-cs"/>
              </a:defRPr>
            </a:lvl4pPr>
            <a:lvl5pPr marL="1485900" indent="0">
              <a:buNone/>
              <a:defRPr lang="ko-KR" altLang="en-US" sz="650" kern="1200" dirty="0" smtClean="0">
                <a:gradFill flip="none" rotWithShape="1">
                  <a:gsLst>
                    <a:gs pos="0">
                      <a:srgbClr val="2F3540"/>
                    </a:gs>
                    <a:gs pos="100000">
                      <a:srgbClr val="2F3540"/>
                    </a:gs>
                  </a:gsLst>
                  <a:lin ang="0" scaled="1"/>
                  <a:tileRect/>
                </a:gradFill>
                <a:latin typeface="Roboto Condensed Light"/>
                <a:ea typeface="+mn-ea"/>
                <a:cs typeface="+mn-cs"/>
              </a:defRPr>
            </a:lvl5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Basic Layout with Text_Lef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endParaRPr lang="en-US" dirty="0"/>
          </a:p>
        </p:txBody>
      </p:sp>
      <p:sp>
        <p:nvSpPr>
          <p:cNvPr id="5" name="텍스트 개체 틀 4"/>
          <p:cNvSpPr>
            <a:spLocks noGrp="1"/>
          </p:cNvSpPr>
          <p:nvPr>
            <p:ph type="body" sz="quarter" idx="10"/>
          </p:nvPr>
        </p:nvSpPr>
        <p:spPr>
          <a:xfrm>
            <a:off x="720726" y="879476"/>
            <a:ext cx="1763713" cy="2994125"/>
          </a:xfrm>
          <a:prstGeom prst="rect">
            <a:avLst/>
          </a:prstGeom>
        </p:spPr>
        <p:txBody>
          <a:bodyPr lIns="0" tIns="0" rIns="0" bIns="0"/>
          <a:lstStyle>
            <a:lvl1pPr marL="0" indent="0" algn="just">
              <a:buNone/>
              <a:defRPr lang="en-US" altLang="ko-KR" sz="650" kern="1200" dirty="0" smtClean="0">
                <a:gradFill>
                  <a:gsLst>
                    <a:gs pos="0">
                      <a:schemeClr val="tx1">
                        <a:alpha val="70000"/>
                      </a:schemeClr>
                    </a:gs>
                    <a:gs pos="100000">
                      <a:schemeClr val="tx1">
                        <a:alpha val="70000"/>
                      </a:schemeClr>
                    </a:gs>
                  </a:gsLst>
                  <a:lin ang="5400000" scaled="0"/>
                </a:gradFill>
                <a:latin typeface="+mn-lt"/>
                <a:ea typeface="+mn-ea"/>
                <a:cs typeface="Roboto Condensed Regular"/>
              </a:defRPr>
            </a:lvl1pPr>
            <a:lvl2pPr marL="371475" indent="0">
              <a:buNone/>
              <a:defRPr lang="ko-KR" altLang="en-US" sz="650" kern="1200" dirty="0" smtClean="0">
                <a:gradFill flip="none" rotWithShape="1">
                  <a:gsLst>
                    <a:gs pos="0">
                      <a:srgbClr val="2F3540"/>
                    </a:gs>
                    <a:gs pos="100000">
                      <a:srgbClr val="2F3540"/>
                    </a:gs>
                  </a:gsLst>
                  <a:lin ang="0" scaled="1"/>
                  <a:tileRect/>
                </a:gradFill>
                <a:latin typeface="Roboto Condensed Light"/>
                <a:ea typeface="+mn-ea"/>
                <a:cs typeface="+mn-cs"/>
              </a:defRPr>
            </a:lvl2pPr>
            <a:lvl3pPr marL="742950" indent="0">
              <a:buNone/>
              <a:defRPr lang="ko-KR" altLang="en-US" sz="650" kern="1200" dirty="0" smtClean="0">
                <a:gradFill flip="none" rotWithShape="1">
                  <a:gsLst>
                    <a:gs pos="0">
                      <a:srgbClr val="2F3540"/>
                    </a:gs>
                    <a:gs pos="100000">
                      <a:srgbClr val="2F3540"/>
                    </a:gs>
                  </a:gsLst>
                  <a:lin ang="0" scaled="1"/>
                  <a:tileRect/>
                </a:gradFill>
                <a:latin typeface="Roboto Condensed Light"/>
                <a:ea typeface="+mn-ea"/>
                <a:cs typeface="+mn-cs"/>
              </a:defRPr>
            </a:lvl3pPr>
            <a:lvl4pPr marL="1114425" indent="0">
              <a:buNone/>
              <a:defRPr lang="ko-KR" altLang="en-US" sz="650" kern="1200" dirty="0" smtClean="0">
                <a:gradFill flip="none" rotWithShape="1">
                  <a:gsLst>
                    <a:gs pos="0">
                      <a:srgbClr val="2F3540"/>
                    </a:gs>
                    <a:gs pos="100000">
                      <a:srgbClr val="2F3540"/>
                    </a:gs>
                  </a:gsLst>
                  <a:lin ang="0" scaled="1"/>
                  <a:tileRect/>
                </a:gradFill>
                <a:latin typeface="Roboto Condensed Light"/>
                <a:ea typeface="+mn-ea"/>
                <a:cs typeface="+mn-cs"/>
              </a:defRPr>
            </a:lvl4pPr>
            <a:lvl5pPr marL="1485900" indent="0">
              <a:buNone/>
              <a:defRPr lang="ko-KR" altLang="en-US" sz="650" kern="1200" dirty="0" smtClean="0">
                <a:gradFill flip="none" rotWithShape="1">
                  <a:gsLst>
                    <a:gs pos="0">
                      <a:srgbClr val="2F3540"/>
                    </a:gs>
                    <a:gs pos="100000">
                      <a:srgbClr val="2F3540"/>
                    </a:gs>
                  </a:gsLst>
                  <a:lin ang="0" scaled="1"/>
                  <a:tileRect/>
                </a:gradFill>
                <a:latin typeface="Roboto Condensed Light"/>
                <a:ea typeface="+mn-ea"/>
                <a:cs typeface="+mn-cs"/>
              </a:defRPr>
            </a:lvl5pPr>
          </a:lstStyle>
          <a:p>
            <a:pPr lvl="0"/>
            <a:r>
              <a:rPr lang="en-US" altLang="ko-KR"/>
              <a:t>Click to edit Master text styles</a:t>
            </a:r>
            <a:endParaRPr lang="en-US" altLang="ko-KR"/>
          </a:p>
        </p:txBody>
      </p:sp>
    </p:spTree>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2" name="Picture 9"/>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29601" y="171450"/>
            <a:ext cx="773722" cy="44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userDrawn="1">
  <p:cSld name="none">
    <p:spTree>
      <p:nvGrpSpPr>
        <p:cNvPr id="1" name=""/>
        <p:cNvGrpSpPr/>
        <p:nvPr/>
      </p:nvGrpSpPr>
      <p:grpSpPr>
        <a:xfrm>
          <a:off x="0" y="0"/>
          <a:ext cx="0" cy="0"/>
          <a:chOff x="0" y="0"/>
          <a:chExt cx="0" cy="0"/>
        </a:xfrm>
      </p:grpSpPr>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Tree>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IN" dirty="0"/>
          </a:p>
        </p:txBody>
      </p:sp>
      <p:sp>
        <p:nvSpPr>
          <p:cNvPr id="3" name="Content Placeholder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IN" dirty="0"/>
          </a:p>
        </p:txBody>
      </p:sp>
      <p:sp>
        <p:nvSpPr>
          <p:cNvPr id="4" name="Content Placeholder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IN"/>
          </a:p>
        </p:txBody>
      </p:sp>
      <p:sp>
        <p:nvSpPr>
          <p:cNvPr id="5" name="Date Placeholder 4"/>
          <p:cNvSpPr>
            <a:spLocks noGrp="1"/>
          </p:cNvSpPr>
          <p:nvPr>
            <p:ph type="dt" sz="half" idx="10"/>
          </p:nvPr>
        </p:nvSpPr>
        <p:spPr>
          <a:xfrm>
            <a:off x="457200" y="4767263"/>
            <a:ext cx="2133600" cy="273844"/>
          </a:xfrm>
          <a:prstGeom prst="rect">
            <a:avLst/>
          </a:prstGeom>
        </p:spPr>
        <p:txBody>
          <a:bodyPr/>
          <a:lstStyle/>
          <a:p>
            <a:fld id="{C6646B51-F6D8-4CC4-A591-C262EC7FC44F}" type="datetimeFigureOut">
              <a:rPr lang="en-IN" smtClean="0"/>
            </a:fld>
            <a:endParaRPr lang="en-IN"/>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endParaRPr lang="en-IN"/>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fld id="{60724B64-D2D5-4FDF-9C7C-4251A3B63B1F}" type="slidenum">
              <a:rPr lang="en-IN" smtClean="0"/>
            </a:fld>
            <a:endParaRPr lang="en-IN"/>
          </a:p>
        </p:txBody>
      </p:sp>
    </p:spTree>
  </p:cSld>
  <p:clrMapOvr>
    <a:masterClrMapping/>
  </p:clrMapOvr>
  <p:transition spd="med">
    <p:fad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image" Target="../media/image3.jpeg"/><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image" Target="../media/image3.jpeg"/><Relationship Id="rId8" Type="http://schemas.openxmlformats.org/officeDocument/2006/relationships/slideLayout" Target="../slideLayouts/slideLayout18.xml"/><Relationship Id="rId7" Type="http://schemas.openxmlformats.org/officeDocument/2006/relationships/slideLayout" Target="../slideLayouts/slideLayout17.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3" Type="http://schemas.openxmlformats.org/officeDocument/2006/relationships/slideLayout" Target="../slideLayouts/slideLayout13.xml"/><Relationship Id="rId2" Type="http://schemas.openxmlformats.org/officeDocument/2006/relationships/slideLayout" Target="../slideLayouts/slideLayout12.xml"/><Relationship Id="rId10" Type="http://schemas.openxmlformats.org/officeDocument/2006/relationships/theme" Target="../theme/theme2.xml"/><Relationship Id="rId1"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27.xml"/><Relationship Id="rId8" Type="http://schemas.openxmlformats.org/officeDocument/2006/relationships/slideLayout" Target="../slideLayouts/slideLayout26.xml"/><Relationship Id="rId7" Type="http://schemas.openxmlformats.org/officeDocument/2006/relationships/slideLayout" Target="../slideLayouts/slideLayout25.xml"/><Relationship Id="rId6" Type="http://schemas.openxmlformats.org/officeDocument/2006/relationships/slideLayout" Target="../slideLayouts/slideLayout24.xml"/><Relationship Id="rId50" Type="http://schemas.openxmlformats.org/officeDocument/2006/relationships/theme" Target="../theme/theme3.xml"/><Relationship Id="rId5" Type="http://schemas.openxmlformats.org/officeDocument/2006/relationships/slideLayout" Target="../slideLayouts/slideLayout23.xml"/><Relationship Id="rId49" Type="http://schemas.openxmlformats.org/officeDocument/2006/relationships/vmlDrawing" Target="../drawings/vmlDrawing10.vml"/><Relationship Id="rId48" Type="http://schemas.openxmlformats.org/officeDocument/2006/relationships/image" Target="../media/image5.png"/><Relationship Id="rId47" Type="http://schemas.openxmlformats.org/officeDocument/2006/relationships/image" Target="../media/image4.emf"/><Relationship Id="rId46" Type="http://schemas.openxmlformats.org/officeDocument/2006/relationships/oleObject" Target="../embeddings/oleObject10.bin"/><Relationship Id="rId45" Type="http://schemas.openxmlformats.org/officeDocument/2006/relationships/tags" Target="../tags/tag10.xml"/><Relationship Id="rId44" Type="http://schemas.openxmlformats.org/officeDocument/2006/relationships/slideLayout" Target="../slideLayouts/slideLayout62.xml"/><Relationship Id="rId43" Type="http://schemas.openxmlformats.org/officeDocument/2006/relationships/slideLayout" Target="../slideLayouts/slideLayout61.xml"/><Relationship Id="rId42" Type="http://schemas.openxmlformats.org/officeDocument/2006/relationships/slideLayout" Target="../slideLayouts/slideLayout60.xml"/><Relationship Id="rId41" Type="http://schemas.openxmlformats.org/officeDocument/2006/relationships/slideLayout" Target="../slideLayouts/slideLayout59.xml"/><Relationship Id="rId40" Type="http://schemas.openxmlformats.org/officeDocument/2006/relationships/slideLayout" Target="../slideLayouts/slideLayout58.xml"/><Relationship Id="rId4" Type="http://schemas.openxmlformats.org/officeDocument/2006/relationships/slideLayout" Target="../slideLayouts/slideLayout22.xml"/><Relationship Id="rId39" Type="http://schemas.openxmlformats.org/officeDocument/2006/relationships/slideLayout" Target="../slideLayouts/slideLayout57.xml"/><Relationship Id="rId38" Type="http://schemas.openxmlformats.org/officeDocument/2006/relationships/slideLayout" Target="../slideLayouts/slideLayout56.xml"/><Relationship Id="rId37" Type="http://schemas.openxmlformats.org/officeDocument/2006/relationships/slideLayout" Target="../slideLayouts/slideLayout55.xml"/><Relationship Id="rId36" Type="http://schemas.openxmlformats.org/officeDocument/2006/relationships/slideLayout" Target="../slideLayouts/slideLayout54.xml"/><Relationship Id="rId35" Type="http://schemas.openxmlformats.org/officeDocument/2006/relationships/slideLayout" Target="../slideLayouts/slideLayout53.xml"/><Relationship Id="rId34" Type="http://schemas.openxmlformats.org/officeDocument/2006/relationships/slideLayout" Target="../slideLayouts/slideLayout52.xml"/><Relationship Id="rId33" Type="http://schemas.openxmlformats.org/officeDocument/2006/relationships/slideLayout" Target="../slideLayouts/slideLayout51.xml"/><Relationship Id="rId32" Type="http://schemas.openxmlformats.org/officeDocument/2006/relationships/slideLayout" Target="../slideLayouts/slideLayout50.xml"/><Relationship Id="rId31" Type="http://schemas.openxmlformats.org/officeDocument/2006/relationships/slideLayout" Target="../slideLayouts/slideLayout49.xml"/><Relationship Id="rId30" Type="http://schemas.openxmlformats.org/officeDocument/2006/relationships/slideLayout" Target="../slideLayouts/slideLayout48.xml"/><Relationship Id="rId3" Type="http://schemas.openxmlformats.org/officeDocument/2006/relationships/slideLayout" Target="../slideLayouts/slideLayout21.xml"/><Relationship Id="rId29" Type="http://schemas.openxmlformats.org/officeDocument/2006/relationships/slideLayout" Target="../slideLayouts/slideLayout47.xml"/><Relationship Id="rId28" Type="http://schemas.openxmlformats.org/officeDocument/2006/relationships/slideLayout" Target="../slideLayouts/slideLayout46.xml"/><Relationship Id="rId27" Type="http://schemas.openxmlformats.org/officeDocument/2006/relationships/slideLayout" Target="../slideLayouts/slideLayout45.xml"/><Relationship Id="rId26" Type="http://schemas.openxmlformats.org/officeDocument/2006/relationships/slideLayout" Target="../slideLayouts/slideLayout44.xml"/><Relationship Id="rId25" Type="http://schemas.openxmlformats.org/officeDocument/2006/relationships/slideLayout" Target="../slideLayouts/slideLayout43.xml"/><Relationship Id="rId24" Type="http://schemas.openxmlformats.org/officeDocument/2006/relationships/slideLayout" Target="../slideLayouts/slideLayout42.xml"/><Relationship Id="rId23" Type="http://schemas.openxmlformats.org/officeDocument/2006/relationships/slideLayout" Target="../slideLayouts/slideLayout41.xml"/><Relationship Id="rId22" Type="http://schemas.openxmlformats.org/officeDocument/2006/relationships/slideLayout" Target="../slideLayouts/slideLayout40.xml"/><Relationship Id="rId21" Type="http://schemas.openxmlformats.org/officeDocument/2006/relationships/slideLayout" Target="../slideLayouts/slideLayout39.xml"/><Relationship Id="rId20" Type="http://schemas.openxmlformats.org/officeDocument/2006/relationships/slideLayout" Target="../slideLayouts/slideLayout38.xml"/><Relationship Id="rId2" Type="http://schemas.openxmlformats.org/officeDocument/2006/relationships/slideLayout" Target="../slideLayouts/slideLayout20.xml"/><Relationship Id="rId19" Type="http://schemas.openxmlformats.org/officeDocument/2006/relationships/slideLayout" Target="../slideLayouts/slideLayout37.xml"/><Relationship Id="rId18" Type="http://schemas.openxmlformats.org/officeDocument/2006/relationships/slideLayout" Target="../slideLayouts/slideLayout36.xml"/><Relationship Id="rId17" Type="http://schemas.openxmlformats.org/officeDocument/2006/relationships/slideLayout" Target="../slideLayouts/slideLayout35.xml"/><Relationship Id="rId16" Type="http://schemas.openxmlformats.org/officeDocument/2006/relationships/slideLayout" Target="../slideLayouts/slideLayout34.xml"/><Relationship Id="rId15" Type="http://schemas.openxmlformats.org/officeDocument/2006/relationships/slideLayout" Target="../slideLayouts/slideLayout33.xml"/><Relationship Id="rId14" Type="http://schemas.openxmlformats.org/officeDocument/2006/relationships/slideLayout" Target="../slideLayouts/slideLayout32.xml"/><Relationship Id="rId13" Type="http://schemas.openxmlformats.org/officeDocument/2006/relationships/slideLayout" Target="../slideLayouts/slideLayout31.xml"/><Relationship Id="rId12" Type="http://schemas.openxmlformats.org/officeDocument/2006/relationships/slideLayout" Target="../slideLayouts/slideLayout30.xml"/><Relationship Id="rId11" Type="http://schemas.openxmlformats.org/officeDocument/2006/relationships/slideLayout" Target="../slideLayouts/slideLayout29.xml"/><Relationship Id="rId10" Type="http://schemas.openxmlformats.org/officeDocument/2006/relationships/slideLayout" Target="../slideLayouts/slideLayout28.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720725" y="339725"/>
            <a:ext cx="6815138" cy="466725"/>
          </a:xfrm>
          <a:prstGeom prst="rect">
            <a:avLst/>
          </a:prstGeom>
        </p:spPr>
        <p:txBody>
          <a:bodyPr vert="horz" lIns="0" tIns="0" rIns="0" bIns="0" rtlCol="0" anchor="t">
            <a:noAutofit/>
          </a:bodyPr>
          <a:lstStyle/>
          <a:p>
            <a:r>
              <a:rPr lang="en-US" altLang="ko-KR" dirty="0"/>
              <a:t>Click to edit master title style</a:t>
            </a:r>
            <a:endParaRPr lang="ko-KR" altLang="en-US" dirty="0"/>
          </a:p>
        </p:txBody>
      </p:sp>
      <p:cxnSp>
        <p:nvCxnSpPr>
          <p:cNvPr id="22" name="직선 연결선 25"/>
          <p:cNvCxnSpPr/>
          <p:nvPr/>
        </p:nvCxnSpPr>
        <p:spPr>
          <a:xfrm>
            <a:off x="720725" y="742950"/>
            <a:ext cx="3238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슬라이드 번호 개체 틀 4"/>
          <p:cNvSpPr txBox="1"/>
          <p:nvPr/>
        </p:nvSpPr>
        <p:spPr>
          <a:xfrm>
            <a:off x="8126413" y="4867275"/>
            <a:ext cx="414337" cy="179388"/>
          </a:xfrm>
          <a:prstGeom prst="rect">
            <a:avLst/>
          </a:prstGeom>
        </p:spPr>
        <p:txBody>
          <a:bodyPr tIns="0" bIns="0" anchor="ctr"/>
          <a:lstStyle/>
          <a:p>
            <a:pPr algn="ctr" eaLnBrk="1" latinLnBrk="1" hangingPunct="1">
              <a:defRPr/>
            </a:pPr>
            <a:fld id="{11A690D8-D9A1-495F-9580-CDFA6DB3EEBD}" type="slidenum">
              <a:rPr lang="ko-KR" altLang="en-US" sz="900" b="1">
                <a:solidFill>
                  <a:schemeClr val="bg2"/>
                </a:solidFill>
                <a:latin typeface="Roboto Condensed Regular"/>
                <a:ea typeface="Gulim" pitchFamily="34" charset="-127"/>
              </a:rPr>
            </a:fld>
            <a:endParaRPr lang="ko-KR" altLang="en-US" sz="900" b="1">
              <a:solidFill>
                <a:schemeClr val="bg2"/>
              </a:solidFill>
              <a:latin typeface="Roboto Condensed Regular"/>
              <a:ea typeface="Gulim" pitchFamily="34" charset="-127"/>
            </a:endParaRPr>
          </a:p>
        </p:txBody>
      </p:sp>
      <p:sp>
        <p:nvSpPr>
          <p:cNvPr id="1030" name="TextBox 6"/>
          <p:cNvSpPr txBox="1">
            <a:spLocks noChangeArrowheads="1"/>
          </p:cNvSpPr>
          <p:nvPr userDrawn="1"/>
        </p:nvSpPr>
        <p:spPr bwMode="auto">
          <a:xfrm>
            <a:off x="6732300" y="0"/>
            <a:ext cx="2411700" cy="276225"/>
          </a:xfrm>
          <a:prstGeom prst="rect">
            <a:avLst/>
          </a:prstGeom>
          <a:noFill/>
          <a:ln>
            <a:noFill/>
          </a:ln>
        </p:spPr>
        <p:txBody>
          <a:bodyPr wrap="square">
            <a:spAutoFit/>
          </a:bodyPr>
          <a:lstStyle>
            <a:lvl1pPr>
              <a:defRPr>
                <a:solidFill>
                  <a:schemeClr val="tx1"/>
                </a:solidFill>
                <a:latin typeface="Arial" panose="020B0604020202020204" pitchFamily="34" charset="0"/>
                <a:ea typeface="Roboto Condensed Light" pitchFamily="2" charset="0"/>
                <a:cs typeface="Roboto Condensed Light" pitchFamily="2" charset="0"/>
              </a:defRPr>
            </a:lvl1pPr>
            <a:lvl2pPr marL="742950" indent="-285750">
              <a:defRPr>
                <a:solidFill>
                  <a:schemeClr val="tx1"/>
                </a:solidFill>
                <a:latin typeface="Arial" panose="020B0604020202020204" pitchFamily="34" charset="0"/>
                <a:ea typeface="Roboto Condensed Light" pitchFamily="2" charset="0"/>
                <a:cs typeface="Roboto Condensed Light" pitchFamily="2" charset="0"/>
              </a:defRPr>
            </a:lvl2pPr>
            <a:lvl3pPr marL="1143000" indent="-228600">
              <a:defRPr>
                <a:solidFill>
                  <a:schemeClr val="tx1"/>
                </a:solidFill>
                <a:latin typeface="Arial" panose="020B0604020202020204" pitchFamily="34" charset="0"/>
                <a:ea typeface="Roboto Condensed Light" pitchFamily="2" charset="0"/>
                <a:cs typeface="Roboto Condensed Light" pitchFamily="2" charset="0"/>
              </a:defRPr>
            </a:lvl3pPr>
            <a:lvl4pPr marL="1600200" indent="-228600">
              <a:defRPr>
                <a:solidFill>
                  <a:schemeClr val="tx1"/>
                </a:solidFill>
                <a:latin typeface="Arial" panose="020B0604020202020204" pitchFamily="34" charset="0"/>
                <a:ea typeface="Roboto Condensed Light" pitchFamily="2" charset="0"/>
                <a:cs typeface="Roboto Condensed Light" pitchFamily="2" charset="0"/>
              </a:defRPr>
            </a:lvl4pPr>
            <a:lvl5pPr marL="2057400" indent="-228600">
              <a:defRPr>
                <a:solidFill>
                  <a:schemeClr val="tx1"/>
                </a:solidFill>
                <a:latin typeface="Arial" panose="020B0604020202020204" pitchFamily="34" charset="0"/>
                <a:ea typeface="Roboto Condensed Light" pitchFamily="2" charset="0"/>
                <a:cs typeface="Roboto Condensed Light" pitchFamily="2" charset="0"/>
              </a:defRPr>
            </a:lvl5pPr>
            <a:lvl6pPr marL="2514600" indent="-228600" eaLnBrk="0" fontAlgn="base" hangingPunct="0">
              <a:spcBef>
                <a:spcPct val="0"/>
              </a:spcBef>
              <a:spcAft>
                <a:spcPct val="0"/>
              </a:spcAft>
              <a:defRPr>
                <a:solidFill>
                  <a:schemeClr val="tx1"/>
                </a:solidFill>
                <a:latin typeface="Arial" panose="020B0604020202020204" pitchFamily="34" charset="0"/>
                <a:ea typeface="Roboto Condensed Light" pitchFamily="2" charset="0"/>
                <a:cs typeface="Roboto Condensed Light" pitchFamily="2" charset="0"/>
              </a:defRPr>
            </a:lvl6pPr>
            <a:lvl7pPr marL="2971800" indent="-228600" eaLnBrk="0" fontAlgn="base" hangingPunct="0">
              <a:spcBef>
                <a:spcPct val="0"/>
              </a:spcBef>
              <a:spcAft>
                <a:spcPct val="0"/>
              </a:spcAft>
              <a:defRPr>
                <a:solidFill>
                  <a:schemeClr val="tx1"/>
                </a:solidFill>
                <a:latin typeface="Arial" panose="020B0604020202020204" pitchFamily="34" charset="0"/>
                <a:ea typeface="Roboto Condensed Light" pitchFamily="2" charset="0"/>
                <a:cs typeface="Roboto Condensed Light" pitchFamily="2" charset="0"/>
              </a:defRPr>
            </a:lvl7pPr>
            <a:lvl8pPr marL="3429000" indent="-228600" eaLnBrk="0" fontAlgn="base" hangingPunct="0">
              <a:spcBef>
                <a:spcPct val="0"/>
              </a:spcBef>
              <a:spcAft>
                <a:spcPct val="0"/>
              </a:spcAft>
              <a:defRPr>
                <a:solidFill>
                  <a:schemeClr val="tx1"/>
                </a:solidFill>
                <a:latin typeface="Arial" panose="020B0604020202020204" pitchFamily="34" charset="0"/>
                <a:ea typeface="Roboto Condensed Light" pitchFamily="2" charset="0"/>
                <a:cs typeface="Roboto Condensed Light" pitchFamily="2" charset="0"/>
              </a:defRPr>
            </a:lvl8pPr>
            <a:lvl9pPr marL="3886200" indent="-228600" eaLnBrk="0" fontAlgn="base" hangingPunct="0">
              <a:spcBef>
                <a:spcPct val="0"/>
              </a:spcBef>
              <a:spcAft>
                <a:spcPct val="0"/>
              </a:spcAft>
              <a:defRPr>
                <a:solidFill>
                  <a:schemeClr val="tx1"/>
                </a:solidFill>
                <a:latin typeface="Arial" panose="020B0604020202020204" pitchFamily="34" charset="0"/>
                <a:ea typeface="Roboto Condensed Light" pitchFamily="2" charset="0"/>
                <a:cs typeface="Roboto Condensed Light" pitchFamily="2" charset="0"/>
              </a:defRPr>
            </a:lvl9pPr>
          </a:lstStyle>
          <a:p>
            <a:pPr eaLnBrk="1" latinLnBrk="1" hangingPunct="1">
              <a:defRPr/>
            </a:pPr>
            <a:r>
              <a:rPr lang="en-IN" altLang="en-US" sz="1200" b="1" dirty="0">
                <a:solidFill>
                  <a:srgbClr val="7F7F7F"/>
                </a:solidFill>
                <a:latin typeface="Arial" panose="020B0604020202020204" pitchFamily="34" charset="0"/>
                <a:cs typeface="Arial" panose="020B0604020202020204" pitchFamily="34" charset="0"/>
              </a:rPr>
              <a:t>            Private &amp; Confidential</a:t>
            </a:r>
            <a:endParaRPr lang="en-IN" altLang="en-US" sz="1200" b="1" dirty="0">
              <a:solidFill>
                <a:srgbClr val="7F7F7F"/>
              </a:solidFill>
              <a:latin typeface="Arial" panose="020B0604020202020204" pitchFamily="34" charset="0"/>
              <a:cs typeface="Arial" panose="020B0604020202020204" pitchFamily="34" charset="0"/>
            </a:endParaRPr>
          </a:p>
        </p:txBody>
      </p:sp>
      <p:pic>
        <p:nvPicPr>
          <p:cNvPr id="7" name="Picture"/>
          <p:cNvPicPr>
            <a:picLocks noChangeAspect="1"/>
          </p:cNvPicPr>
          <p:nvPr userDrawn="1"/>
        </p:nvPicPr>
        <p:blipFill>
          <a:blip r:embed="rId11"/>
          <a:srcRect/>
          <a:stretch>
            <a:fillRect l="13043"/>
          </a:stretch>
        </p:blipFill>
        <p:spPr>
          <a:xfrm>
            <a:off x="8244510" y="276225"/>
            <a:ext cx="682834" cy="53022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transition spd="med">
    <p:fade/>
  </p:transition>
  <p:hf hdr="0" dt="0"/>
  <p:txStyles>
    <p:titleStyle>
      <a:lvl1pPr algn="l" rtl="0" eaLnBrk="0" fontAlgn="base" latinLnBrk="1" hangingPunct="0">
        <a:lnSpc>
          <a:spcPts val="2700"/>
        </a:lnSpc>
        <a:spcBef>
          <a:spcPct val="0"/>
        </a:spcBef>
        <a:spcAft>
          <a:spcPct val="0"/>
        </a:spcAft>
        <a:defRPr sz="2800" kern="1200">
          <a:gradFill>
            <a:gsLst>
              <a:gs pos="0">
                <a:schemeClr val="tx2"/>
              </a:gs>
              <a:gs pos="100000">
                <a:schemeClr val="tx2"/>
              </a:gs>
            </a:gsLst>
            <a:lin ang="0" scaled="1"/>
          </a:gradFill>
          <a:latin typeface="Bebas Neue"/>
          <a:ea typeface="+mj-ea"/>
          <a:cs typeface="Roboto Condensed Regular"/>
        </a:defRPr>
      </a:lvl1pPr>
      <a:lvl2pPr algn="l" rtl="0" eaLnBrk="0" fontAlgn="base" latinLnBrk="1" hangingPunct="0">
        <a:lnSpc>
          <a:spcPts val="2700"/>
        </a:lnSpc>
        <a:spcBef>
          <a:spcPct val="0"/>
        </a:spcBef>
        <a:spcAft>
          <a:spcPct val="0"/>
        </a:spcAft>
        <a:defRPr sz="2800">
          <a:solidFill>
            <a:schemeClr val="tx1"/>
          </a:solidFill>
          <a:latin typeface="Bebas Neue"/>
          <a:ea typeface="Roboto Condensed Regular"/>
          <a:cs typeface="Roboto Condensed Regular"/>
        </a:defRPr>
      </a:lvl2pPr>
      <a:lvl3pPr algn="l" rtl="0" eaLnBrk="0" fontAlgn="base" latinLnBrk="1" hangingPunct="0">
        <a:lnSpc>
          <a:spcPts val="2700"/>
        </a:lnSpc>
        <a:spcBef>
          <a:spcPct val="0"/>
        </a:spcBef>
        <a:spcAft>
          <a:spcPct val="0"/>
        </a:spcAft>
        <a:defRPr sz="2800">
          <a:solidFill>
            <a:schemeClr val="tx1"/>
          </a:solidFill>
          <a:latin typeface="Bebas Neue"/>
          <a:ea typeface="Roboto Condensed Regular"/>
          <a:cs typeface="Roboto Condensed Regular"/>
        </a:defRPr>
      </a:lvl3pPr>
      <a:lvl4pPr algn="l" rtl="0" eaLnBrk="0" fontAlgn="base" latinLnBrk="1" hangingPunct="0">
        <a:lnSpc>
          <a:spcPts val="2700"/>
        </a:lnSpc>
        <a:spcBef>
          <a:spcPct val="0"/>
        </a:spcBef>
        <a:spcAft>
          <a:spcPct val="0"/>
        </a:spcAft>
        <a:defRPr sz="2800">
          <a:solidFill>
            <a:schemeClr val="tx1"/>
          </a:solidFill>
          <a:latin typeface="Bebas Neue"/>
          <a:ea typeface="Roboto Condensed Regular"/>
          <a:cs typeface="Roboto Condensed Regular"/>
        </a:defRPr>
      </a:lvl4pPr>
      <a:lvl5pPr algn="l" rtl="0" eaLnBrk="0" fontAlgn="base" latinLnBrk="1" hangingPunct="0">
        <a:lnSpc>
          <a:spcPts val="2700"/>
        </a:lnSpc>
        <a:spcBef>
          <a:spcPct val="0"/>
        </a:spcBef>
        <a:spcAft>
          <a:spcPct val="0"/>
        </a:spcAft>
        <a:defRPr sz="2800">
          <a:solidFill>
            <a:schemeClr val="tx1"/>
          </a:solidFill>
          <a:latin typeface="Bebas Neue"/>
          <a:ea typeface="Roboto Condensed Regular"/>
          <a:cs typeface="Roboto Condensed Regular"/>
        </a:defRPr>
      </a:lvl5pPr>
      <a:lvl6pPr marL="457200" algn="l" rtl="0" fontAlgn="base" latinLnBrk="1">
        <a:lnSpc>
          <a:spcPts val="2700"/>
        </a:lnSpc>
        <a:spcBef>
          <a:spcPct val="0"/>
        </a:spcBef>
        <a:spcAft>
          <a:spcPct val="0"/>
        </a:spcAft>
        <a:defRPr sz="2800">
          <a:solidFill>
            <a:schemeClr val="tx1"/>
          </a:solidFill>
          <a:latin typeface="Bebas Neue"/>
          <a:ea typeface="Roboto Condensed Regular"/>
          <a:cs typeface="Roboto Condensed Regular"/>
        </a:defRPr>
      </a:lvl6pPr>
      <a:lvl7pPr marL="914400" algn="l" rtl="0" fontAlgn="base" latinLnBrk="1">
        <a:lnSpc>
          <a:spcPts val="2700"/>
        </a:lnSpc>
        <a:spcBef>
          <a:spcPct val="0"/>
        </a:spcBef>
        <a:spcAft>
          <a:spcPct val="0"/>
        </a:spcAft>
        <a:defRPr sz="2800">
          <a:solidFill>
            <a:schemeClr val="tx1"/>
          </a:solidFill>
          <a:latin typeface="Bebas Neue"/>
          <a:ea typeface="Roboto Condensed Regular"/>
          <a:cs typeface="Roboto Condensed Regular"/>
        </a:defRPr>
      </a:lvl7pPr>
      <a:lvl8pPr marL="1371600" algn="l" rtl="0" fontAlgn="base" latinLnBrk="1">
        <a:lnSpc>
          <a:spcPts val="2700"/>
        </a:lnSpc>
        <a:spcBef>
          <a:spcPct val="0"/>
        </a:spcBef>
        <a:spcAft>
          <a:spcPct val="0"/>
        </a:spcAft>
        <a:defRPr sz="2800">
          <a:solidFill>
            <a:schemeClr val="tx1"/>
          </a:solidFill>
          <a:latin typeface="Bebas Neue"/>
          <a:ea typeface="Roboto Condensed Regular"/>
          <a:cs typeface="Roboto Condensed Regular"/>
        </a:defRPr>
      </a:lvl8pPr>
      <a:lvl9pPr marL="1828800" algn="l" rtl="0" fontAlgn="base" latinLnBrk="1">
        <a:lnSpc>
          <a:spcPts val="2700"/>
        </a:lnSpc>
        <a:spcBef>
          <a:spcPct val="0"/>
        </a:spcBef>
        <a:spcAft>
          <a:spcPct val="0"/>
        </a:spcAft>
        <a:defRPr sz="2800">
          <a:solidFill>
            <a:schemeClr val="tx1"/>
          </a:solidFill>
          <a:latin typeface="Bebas Neue"/>
          <a:ea typeface="Roboto Condensed Regular"/>
          <a:cs typeface="Roboto Condensed Regular"/>
        </a:defRPr>
      </a:lvl9pPr>
    </p:titleStyle>
    <p:bodyStyle>
      <a:lvl1pPr marL="342900" indent="-342900" algn="l" rtl="0" eaLnBrk="0" fontAlgn="base" latinLnBrk="1" hangingPunct="0">
        <a:spcBef>
          <a:spcPct val="20000"/>
        </a:spcBef>
        <a:spcAft>
          <a:spcPct val="0"/>
        </a:spcAft>
        <a:buFont typeface="Arial" panose="020B0604020202020204" pitchFamily="34" charset="0"/>
        <a:buChar char="•"/>
        <a:defRPr sz="3200" kern="1200">
          <a:solidFill>
            <a:schemeClr val="tx1"/>
          </a:solidFill>
          <a:latin typeface="+mn-lt"/>
          <a:ea typeface="+mn-ea"/>
          <a:cs typeface="Roboto Condensed Light"/>
        </a:defRPr>
      </a:lvl1pPr>
      <a:lvl2pPr marL="742950" indent="-285750" algn="l" rtl="0" eaLnBrk="0" fontAlgn="base" latinLnBrk="1" hangingPunct="0">
        <a:spcBef>
          <a:spcPct val="20000"/>
        </a:spcBef>
        <a:spcAft>
          <a:spcPct val="0"/>
        </a:spcAft>
        <a:buFont typeface="Arial" panose="020B0604020202020204" pitchFamily="34" charset="0"/>
        <a:buChar char="–"/>
        <a:defRPr sz="2800" kern="1200">
          <a:solidFill>
            <a:schemeClr val="tx1"/>
          </a:solidFill>
          <a:latin typeface="+mn-lt"/>
          <a:ea typeface="+mn-ea"/>
          <a:cs typeface="Roboto Condensed Light"/>
        </a:defRPr>
      </a:lvl2pPr>
      <a:lvl3pPr marL="1143000" indent="-228600" algn="l" rtl="0" eaLnBrk="0" fontAlgn="base" latinLnBrk="1" hangingPunct="0">
        <a:spcBef>
          <a:spcPct val="20000"/>
        </a:spcBef>
        <a:spcAft>
          <a:spcPct val="0"/>
        </a:spcAft>
        <a:buFont typeface="Arial" panose="020B0604020202020204" pitchFamily="34" charset="0"/>
        <a:buChar char="•"/>
        <a:defRPr sz="2400" kern="1200">
          <a:solidFill>
            <a:schemeClr val="tx1"/>
          </a:solidFill>
          <a:latin typeface="+mn-lt"/>
          <a:ea typeface="+mn-ea"/>
          <a:cs typeface="Roboto Condensed Light"/>
        </a:defRPr>
      </a:lvl3pPr>
      <a:lvl4pPr marL="1600200" indent="-228600" algn="l" rtl="0" eaLnBrk="0" fontAlgn="base" latinLnBrk="1" hangingPunct="0">
        <a:spcBef>
          <a:spcPct val="20000"/>
        </a:spcBef>
        <a:spcAft>
          <a:spcPct val="0"/>
        </a:spcAft>
        <a:buFont typeface="Arial" panose="020B0604020202020204" pitchFamily="34" charset="0"/>
        <a:buChar char="–"/>
        <a:defRPr sz="2000" kern="1200">
          <a:solidFill>
            <a:schemeClr val="tx1"/>
          </a:solidFill>
          <a:latin typeface="+mn-lt"/>
          <a:ea typeface="+mn-ea"/>
          <a:cs typeface="Roboto Condensed Light"/>
        </a:defRPr>
      </a:lvl4pPr>
      <a:lvl5pPr marL="2057400" indent="-228600" algn="l" rtl="0" eaLnBrk="0" fontAlgn="base" latinLnBrk="1" hangingPunct="0">
        <a:spcBef>
          <a:spcPct val="20000"/>
        </a:spcBef>
        <a:spcAft>
          <a:spcPct val="0"/>
        </a:spcAft>
        <a:buFont typeface="Arial" panose="020B0604020202020204" pitchFamily="34" charset="0"/>
        <a:buChar char="»"/>
        <a:defRPr sz="2000" kern="1200">
          <a:solidFill>
            <a:schemeClr val="tx1"/>
          </a:solidFill>
          <a:latin typeface="+mn-lt"/>
          <a:ea typeface="+mn-ea"/>
          <a:cs typeface="Roboto Condensed Light"/>
        </a:defRPr>
      </a:lvl5pPr>
      <a:lvl6pPr marL="25146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720725" y="339725"/>
            <a:ext cx="6815138" cy="466725"/>
          </a:xfrm>
          <a:prstGeom prst="rect">
            <a:avLst/>
          </a:prstGeom>
        </p:spPr>
        <p:txBody>
          <a:bodyPr vert="horz" lIns="0" tIns="0" rIns="0" bIns="0" rtlCol="0" anchor="t">
            <a:noAutofit/>
          </a:bodyPr>
          <a:lstStyle/>
          <a:p>
            <a:r>
              <a:rPr lang="en-US" altLang="ko-KR" dirty="0"/>
              <a:t>Click to edit master title style</a:t>
            </a:r>
            <a:endParaRPr lang="ko-KR" altLang="en-US" dirty="0"/>
          </a:p>
        </p:txBody>
      </p:sp>
      <p:cxnSp>
        <p:nvCxnSpPr>
          <p:cNvPr id="22" name="직선 연결선 25"/>
          <p:cNvCxnSpPr/>
          <p:nvPr/>
        </p:nvCxnSpPr>
        <p:spPr>
          <a:xfrm>
            <a:off x="720725" y="742950"/>
            <a:ext cx="3238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슬라이드 번호 개체 틀 4"/>
          <p:cNvSpPr txBox="1"/>
          <p:nvPr/>
        </p:nvSpPr>
        <p:spPr>
          <a:xfrm>
            <a:off x="8126413" y="4867275"/>
            <a:ext cx="414337" cy="179388"/>
          </a:xfrm>
          <a:prstGeom prst="rect">
            <a:avLst/>
          </a:prstGeom>
        </p:spPr>
        <p:txBody>
          <a:bodyPr tIns="0" bIns="0" anchor="ctr"/>
          <a:lstStyle/>
          <a:p>
            <a:pPr algn="ctr" eaLnBrk="1" latinLnBrk="1" hangingPunct="1">
              <a:defRPr/>
            </a:pPr>
            <a:fld id="{11A690D8-D9A1-495F-9580-CDFA6DB3EEBD}" type="slidenum">
              <a:rPr lang="ko-KR" altLang="en-US" sz="900" b="1">
                <a:solidFill>
                  <a:schemeClr val="bg2"/>
                </a:solidFill>
                <a:latin typeface="Roboto Condensed Regular"/>
                <a:ea typeface="Gulim" pitchFamily="34" charset="-127"/>
              </a:rPr>
            </a:fld>
            <a:endParaRPr lang="ko-KR" altLang="en-US" sz="900" b="1">
              <a:solidFill>
                <a:schemeClr val="bg2"/>
              </a:solidFill>
              <a:latin typeface="Roboto Condensed Regular"/>
              <a:ea typeface="Gulim" pitchFamily="34" charset="-127"/>
            </a:endParaRPr>
          </a:p>
        </p:txBody>
      </p:sp>
      <p:sp>
        <p:nvSpPr>
          <p:cNvPr id="1030" name="TextBox 6"/>
          <p:cNvSpPr txBox="1">
            <a:spLocks noChangeArrowheads="1"/>
          </p:cNvSpPr>
          <p:nvPr userDrawn="1"/>
        </p:nvSpPr>
        <p:spPr bwMode="auto">
          <a:xfrm>
            <a:off x="6732300" y="0"/>
            <a:ext cx="2411700" cy="276225"/>
          </a:xfrm>
          <a:prstGeom prst="rect">
            <a:avLst/>
          </a:prstGeom>
          <a:noFill/>
          <a:ln>
            <a:noFill/>
          </a:ln>
        </p:spPr>
        <p:txBody>
          <a:bodyPr wrap="square">
            <a:spAutoFit/>
          </a:bodyPr>
          <a:lstStyle>
            <a:lvl1pPr>
              <a:defRPr>
                <a:solidFill>
                  <a:schemeClr val="tx1"/>
                </a:solidFill>
                <a:latin typeface="Arial" panose="020B0604020202020204" pitchFamily="34" charset="0"/>
                <a:ea typeface="Roboto Condensed Light" pitchFamily="2" charset="0"/>
                <a:cs typeface="Roboto Condensed Light" pitchFamily="2" charset="0"/>
              </a:defRPr>
            </a:lvl1pPr>
            <a:lvl2pPr marL="742950" indent="-285750">
              <a:defRPr>
                <a:solidFill>
                  <a:schemeClr val="tx1"/>
                </a:solidFill>
                <a:latin typeface="Arial" panose="020B0604020202020204" pitchFamily="34" charset="0"/>
                <a:ea typeface="Roboto Condensed Light" pitchFamily="2" charset="0"/>
                <a:cs typeface="Roboto Condensed Light" pitchFamily="2" charset="0"/>
              </a:defRPr>
            </a:lvl2pPr>
            <a:lvl3pPr marL="1143000" indent="-228600">
              <a:defRPr>
                <a:solidFill>
                  <a:schemeClr val="tx1"/>
                </a:solidFill>
                <a:latin typeface="Arial" panose="020B0604020202020204" pitchFamily="34" charset="0"/>
                <a:ea typeface="Roboto Condensed Light" pitchFamily="2" charset="0"/>
                <a:cs typeface="Roboto Condensed Light" pitchFamily="2" charset="0"/>
              </a:defRPr>
            </a:lvl3pPr>
            <a:lvl4pPr marL="1600200" indent="-228600">
              <a:defRPr>
                <a:solidFill>
                  <a:schemeClr val="tx1"/>
                </a:solidFill>
                <a:latin typeface="Arial" panose="020B0604020202020204" pitchFamily="34" charset="0"/>
                <a:ea typeface="Roboto Condensed Light" pitchFamily="2" charset="0"/>
                <a:cs typeface="Roboto Condensed Light" pitchFamily="2" charset="0"/>
              </a:defRPr>
            </a:lvl4pPr>
            <a:lvl5pPr marL="2057400" indent="-228600">
              <a:defRPr>
                <a:solidFill>
                  <a:schemeClr val="tx1"/>
                </a:solidFill>
                <a:latin typeface="Arial" panose="020B0604020202020204" pitchFamily="34" charset="0"/>
                <a:ea typeface="Roboto Condensed Light" pitchFamily="2" charset="0"/>
                <a:cs typeface="Roboto Condensed Light" pitchFamily="2" charset="0"/>
              </a:defRPr>
            </a:lvl5pPr>
            <a:lvl6pPr marL="2514600" indent="-228600" eaLnBrk="0" fontAlgn="base" hangingPunct="0">
              <a:spcBef>
                <a:spcPct val="0"/>
              </a:spcBef>
              <a:spcAft>
                <a:spcPct val="0"/>
              </a:spcAft>
              <a:defRPr>
                <a:solidFill>
                  <a:schemeClr val="tx1"/>
                </a:solidFill>
                <a:latin typeface="Arial" panose="020B0604020202020204" pitchFamily="34" charset="0"/>
                <a:ea typeface="Roboto Condensed Light" pitchFamily="2" charset="0"/>
                <a:cs typeface="Roboto Condensed Light" pitchFamily="2" charset="0"/>
              </a:defRPr>
            </a:lvl6pPr>
            <a:lvl7pPr marL="2971800" indent="-228600" eaLnBrk="0" fontAlgn="base" hangingPunct="0">
              <a:spcBef>
                <a:spcPct val="0"/>
              </a:spcBef>
              <a:spcAft>
                <a:spcPct val="0"/>
              </a:spcAft>
              <a:defRPr>
                <a:solidFill>
                  <a:schemeClr val="tx1"/>
                </a:solidFill>
                <a:latin typeface="Arial" panose="020B0604020202020204" pitchFamily="34" charset="0"/>
                <a:ea typeface="Roboto Condensed Light" pitchFamily="2" charset="0"/>
                <a:cs typeface="Roboto Condensed Light" pitchFamily="2" charset="0"/>
              </a:defRPr>
            </a:lvl7pPr>
            <a:lvl8pPr marL="3429000" indent="-228600" eaLnBrk="0" fontAlgn="base" hangingPunct="0">
              <a:spcBef>
                <a:spcPct val="0"/>
              </a:spcBef>
              <a:spcAft>
                <a:spcPct val="0"/>
              </a:spcAft>
              <a:defRPr>
                <a:solidFill>
                  <a:schemeClr val="tx1"/>
                </a:solidFill>
                <a:latin typeface="Arial" panose="020B0604020202020204" pitchFamily="34" charset="0"/>
                <a:ea typeface="Roboto Condensed Light" pitchFamily="2" charset="0"/>
                <a:cs typeface="Roboto Condensed Light" pitchFamily="2" charset="0"/>
              </a:defRPr>
            </a:lvl8pPr>
            <a:lvl9pPr marL="3886200" indent="-228600" eaLnBrk="0" fontAlgn="base" hangingPunct="0">
              <a:spcBef>
                <a:spcPct val="0"/>
              </a:spcBef>
              <a:spcAft>
                <a:spcPct val="0"/>
              </a:spcAft>
              <a:defRPr>
                <a:solidFill>
                  <a:schemeClr val="tx1"/>
                </a:solidFill>
                <a:latin typeface="Arial" panose="020B0604020202020204" pitchFamily="34" charset="0"/>
                <a:ea typeface="Roboto Condensed Light" pitchFamily="2" charset="0"/>
                <a:cs typeface="Roboto Condensed Light" pitchFamily="2" charset="0"/>
              </a:defRPr>
            </a:lvl9pPr>
          </a:lstStyle>
          <a:p>
            <a:pPr eaLnBrk="1" latinLnBrk="1" hangingPunct="1">
              <a:defRPr/>
            </a:pPr>
            <a:r>
              <a:rPr lang="en-IN" altLang="en-US" sz="1200" b="1" dirty="0">
                <a:solidFill>
                  <a:srgbClr val="7F7F7F"/>
                </a:solidFill>
                <a:latin typeface="Arial" panose="020B0604020202020204" pitchFamily="34" charset="0"/>
                <a:cs typeface="Arial" panose="020B0604020202020204" pitchFamily="34" charset="0"/>
              </a:rPr>
              <a:t>            Private &amp; Confidential</a:t>
            </a:r>
            <a:endParaRPr lang="en-IN" altLang="en-US" sz="1200" b="1" dirty="0">
              <a:solidFill>
                <a:srgbClr val="7F7F7F"/>
              </a:solidFill>
              <a:latin typeface="Arial" panose="020B0604020202020204" pitchFamily="34" charset="0"/>
              <a:cs typeface="Arial" panose="020B0604020202020204" pitchFamily="34" charset="0"/>
            </a:endParaRPr>
          </a:p>
        </p:txBody>
      </p:sp>
      <p:pic>
        <p:nvPicPr>
          <p:cNvPr id="7" name="Picture"/>
          <p:cNvPicPr>
            <a:picLocks noChangeAspect="1"/>
          </p:cNvPicPr>
          <p:nvPr userDrawn="1"/>
        </p:nvPicPr>
        <p:blipFill>
          <a:blip r:embed="rId9"/>
          <a:srcRect/>
          <a:stretch>
            <a:fillRect l="13043"/>
          </a:stretch>
        </p:blipFill>
        <p:spPr>
          <a:xfrm>
            <a:off x="8380826" y="318920"/>
            <a:ext cx="596473" cy="510028"/>
          </a:xfrm>
          <a:prstGeom prst="rect">
            <a:avLst/>
          </a:prstGeom>
        </p:spPr>
      </p:pic>
    </p:spTree>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Lst>
  <p:transition spd="med">
    <p:fade/>
  </p:transition>
  <p:hf hdr="0" dt="0"/>
  <p:txStyles>
    <p:titleStyle>
      <a:lvl1pPr algn="l" rtl="0" eaLnBrk="0" fontAlgn="base" latinLnBrk="1" hangingPunct="0">
        <a:lnSpc>
          <a:spcPts val="2700"/>
        </a:lnSpc>
        <a:spcBef>
          <a:spcPct val="0"/>
        </a:spcBef>
        <a:spcAft>
          <a:spcPct val="0"/>
        </a:spcAft>
        <a:defRPr sz="2800" kern="1200">
          <a:gradFill>
            <a:gsLst>
              <a:gs pos="0">
                <a:schemeClr val="tx2"/>
              </a:gs>
              <a:gs pos="100000">
                <a:schemeClr val="tx2"/>
              </a:gs>
            </a:gsLst>
            <a:lin ang="0" scaled="1"/>
          </a:gradFill>
          <a:latin typeface="Bebas Neue"/>
          <a:ea typeface="+mj-ea"/>
          <a:cs typeface="Roboto Condensed Regular"/>
        </a:defRPr>
      </a:lvl1pPr>
      <a:lvl2pPr algn="l" rtl="0" eaLnBrk="0" fontAlgn="base" latinLnBrk="1" hangingPunct="0">
        <a:lnSpc>
          <a:spcPts val="2700"/>
        </a:lnSpc>
        <a:spcBef>
          <a:spcPct val="0"/>
        </a:spcBef>
        <a:spcAft>
          <a:spcPct val="0"/>
        </a:spcAft>
        <a:defRPr sz="2800">
          <a:solidFill>
            <a:schemeClr val="tx1"/>
          </a:solidFill>
          <a:latin typeface="Bebas Neue"/>
          <a:ea typeface="Roboto Condensed Regular"/>
          <a:cs typeface="Roboto Condensed Regular"/>
        </a:defRPr>
      </a:lvl2pPr>
      <a:lvl3pPr algn="l" rtl="0" eaLnBrk="0" fontAlgn="base" latinLnBrk="1" hangingPunct="0">
        <a:lnSpc>
          <a:spcPts val="2700"/>
        </a:lnSpc>
        <a:spcBef>
          <a:spcPct val="0"/>
        </a:spcBef>
        <a:spcAft>
          <a:spcPct val="0"/>
        </a:spcAft>
        <a:defRPr sz="2800">
          <a:solidFill>
            <a:schemeClr val="tx1"/>
          </a:solidFill>
          <a:latin typeface="Bebas Neue"/>
          <a:ea typeface="Roboto Condensed Regular"/>
          <a:cs typeface="Roboto Condensed Regular"/>
        </a:defRPr>
      </a:lvl3pPr>
      <a:lvl4pPr algn="l" rtl="0" eaLnBrk="0" fontAlgn="base" latinLnBrk="1" hangingPunct="0">
        <a:lnSpc>
          <a:spcPts val="2700"/>
        </a:lnSpc>
        <a:spcBef>
          <a:spcPct val="0"/>
        </a:spcBef>
        <a:spcAft>
          <a:spcPct val="0"/>
        </a:spcAft>
        <a:defRPr sz="2800">
          <a:solidFill>
            <a:schemeClr val="tx1"/>
          </a:solidFill>
          <a:latin typeface="Bebas Neue"/>
          <a:ea typeface="Roboto Condensed Regular"/>
          <a:cs typeface="Roboto Condensed Regular"/>
        </a:defRPr>
      </a:lvl4pPr>
      <a:lvl5pPr algn="l" rtl="0" eaLnBrk="0" fontAlgn="base" latinLnBrk="1" hangingPunct="0">
        <a:lnSpc>
          <a:spcPts val="2700"/>
        </a:lnSpc>
        <a:spcBef>
          <a:spcPct val="0"/>
        </a:spcBef>
        <a:spcAft>
          <a:spcPct val="0"/>
        </a:spcAft>
        <a:defRPr sz="2800">
          <a:solidFill>
            <a:schemeClr val="tx1"/>
          </a:solidFill>
          <a:latin typeface="Bebas Neue"/>
          <a:ea typeface="Roboto Condensed Regular"/>
          <a:cs typeface="Roboto Condensed Regular"/>
        </a:defRPr>
      </a:lvl5pPr>
      <a:lvl6pPr marL="457200" algn="l" rtl="0" fontAlgn="base" latinLnBrk="1">
        <a:lnSpc>
          <a:spcPts val="2700"/>
        </a:lnSpc>
        <a:spcBef>
          <a:spcPct val="0"/>
        </a:spcBef>
        <a:spcAft>
          <a:spcPct val="0"/>
        </a:spcAft>
        <a:defRPr sz="2800">
          <a:solidFill>
            <a:schemeClr val="tx1"/>
          </a:solidFill>
          <a:latin typeface="Bebas Neue"/>
          <a:ea typeface="Roboto Condensed Regular"/>
          <a:cs typeface="Roboto Condensed Regular"/>
        </a:defRPr>
      </a:lvl6pPr>
      <a:lvl7pPr marL="914400" algn="l" rtl="0" fontAlgn="base" latinLnBrk="1">
        <a:lnSpc>
          <a:spcPts val="2700"/>
        </a:lnSpc>
        <a:spcBef>
          <a:spcPct val="0"/>
        </a:spcBef>
        <a:spcAft>
          <a:spcPct val="0"/>
        </a:spcAft>
        <a:defRPr sz="2800">
          <a:solidFill>
            <a:schemeClr val="tx1"/>
          </a:solidFill>
          <a:latin typeface="Bebas Neue"/>
          <a:ea typeface="Roboto Condensed Regular"/>
          <a:cs typeface="Roboto Condensed Regular"/>
        </a:defRPr>
      </a:lvl7pPr>
      <a:lvl8pPr marL="1371600" algn="l" rtl="0" fontAlgn="base" latinLnBrk="1">
        <a:lnSpc>
          <a:spcPts val="2700"/>
        </a:lnSpc>
        <a:spcBef>
          <a:spcPct val="0"/>
        </a:spcBef>
        <a:spcAft>
          <a:spcPct val="0"/>
        </a:spcAft>
        <a:defRPr sz="2800">
          <a:solidFill>
            <a:schemeClr val="tx1"/>
          </a:solidFill>
          <a:latin typeface="Bebas Neue"/>
          <a:ea typeface="Roboto Condensed Regular"/>
          <a:cs typeface="Roboto Condensed Regular"/>
        </a:defRPr>
      </a:lvl8pPr>
      <a:lvl9pPr marL="1828800" algn="l" rtl="0" fontAlgn="base" latinLnBrk="1">
        <a:lnSpc>
          <a:spcPts val="2700"/>
        </a:lnSpc>
        <a:spcBef>
          <a:spcPct val="0"/>
        </a:spcBef>
        <a:spcAft>
          <a:spcPct val="0"/>
        </a:spcAft>
        <a:defRPr sz="2800">
          <a:solidFill>
            <a:schemeClr val="tx1"/>
          </a:solidFill>
          <a:latin typeface="Bebas Neue"/>
          <a:ea typeface="Roboto Condensed Regular"/>
          <a:cs typeface="Roboto Condensed Regular"/>
        </a:defRPr>
      </a:lvl9pPr>
    </p:titleStyle>
    <p:bodyStyle>
      <a:lvl1pPr marL="342900" indent="-342900" algn="l" rtl="0" eaLnBrk="0" fontAlgn="base" latinLnBrk="1" hangingPunct="0">
        <a:spcBef>
          <a:spcPct val="20000"/>
        </a:spcBef>
        <a:spcAft>
          <a:spcPct val="0"/>
        </a:spcAft>
        <a:buFont typeface="Arial" panose="020B0604020202020204" pitchFamily="34" charset="0"/>
        <a:buChar char="•"/>
        <a:defRPr sz="3200" kern="1200">
          <a:solidFill>
            <a:schemeClr val="tx1"/>
          </a:solidFill>
          <a:latin typeface="+mn-lt"/>
          <a:ea typeface="+mn-ea"/>
          <a:cs typeface="Roboto Condensed Light"/>
        </a:defRPr>
      </a:lvl1pPr>
      <a:lvl2pPr marL="742950" indent="-285750" algn="l" rtl="0" eaLnBrk="0" fontAlgn="base" latinLnBrk="1" hangingPunct="0">
        <a:spcBef>
          <a:spcPct val="20000"/>
        </a:spcBef>
        <a:spcAft>
          <a:spcPct val="0"/>
        </a:spcAft>
        <a:buFont typeface="Arial" panose="020B0604020202020204" pitchFamily="34" charset="0"/>
        <a:buChar char="–"/>
        <a:defRPr sz="2800" kern="1200">
          <a:solidFill>
            <a:schemeClr val="tx1"/>
          </a:solidFill>
          <a:latin typeface="+mn-lt"/>
          <a:ea typeface="+mn-ea"/>
          <a:cs typeface="Roboto Condensed Light"/>
        </a:defRPr>
      </a:lvl2pPr>
      <a:lvl3pPr marL="1143000" indent="-228600" algn="l" rtl="0" eaLnBrk="0" fontAlgn="base" latinLnBrk="1" hangingPunct="0">
        <a:spcBef>
          <a:spcPct val="20000"/>
        </a:spcBef>
        <a:spcAft>
          <a:spcPct val="0"/>
        </a:spcAft>
        <a:buFont typeface="Arial" panose="020B0604020202020204" pitchFamily="34" charset="0"/>
        <a:buChar char="•"/>
        <a:defRPr sz="2400" kern="1200">
          <a:solidFill>
            <a:schemeClr val="tx1"/>
          </a:solidFill>
          <a:latin typeface="+mn-lt"/>
          <a:ea typeface="+mn-ea"/>
          <a:cs typeface="Roboto Condensed Light"/>
        </a:defRPr>
      </a:lvl3pPr>
      <a:lvl4pPr marL="1600200" indent="-228600" algn="l" rtl="0" eaLnBrk="0" fontAlgn="base" latinLnBrk="1" hangingPunct="0">
        <a:spcBef>
          <a:spcPct val="20000"/>
        </a:spcBef>
        <a:spcAft>
          <a:spcPct val="0"/>
        </a:spcAft>
        <a:buFont typeface="Arial" panose="020B0604020202020204" pitchFamily="34" charset="0"/>
        <a:buChar char="–"/>
        <a:defRPr sz="2000" kern="1200">
          <a:solidFill>
            <a:schemeClr val="tx1"/>
          </a:solidFill>
          <a:latin typeface="+mn-lt"/>
          <a:ea typeface="+mn-ea"/>
          <a:cs typeface="Roboto Condensed Light"/>
        </a:defRPr>
      </a:lvl4pPr>
      <a:lvl5pPr marL="2057400" indent="-228600" algn="l" rtl="0" eaLnBrk="0" fontAlgn="base" latinLnBrk="1" hangingPunct="0">
        <a:spcBef>
          <a:spcPct val="20000"/>
        </a:spcBef>
        <a:spcAft>
          <a:spcPct val="0"/>
        </a:spcAft>
        <a:buFont typeface="Arial" panose="020B0604020202020204" pitchFamily="34" charset="0"/>
        <a:buChar char="»"/>
        <a:defRPr sz="2000" kern="1200">
          <a:solidFill>
            <a:schemeClr val="tx1"/>
          </a:solidFill>
          <a:latin typeface="+mn-lt"/>
          <a:ea typeface="+mn-ea"/>
          <a:cs typeface="Roboto Condensed Light"/>
        </a:defRPr>
      </a:lvl5pPr>
      <a:lvl6pPr marL="25146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1026" name="Object 289"/>
          <p:cNvGraphicFramePr>
            <a:graphicFrameLocks noChangeAspect="1"/>
          </p:cNvGraphicFramePr>
          <p:nvPr>
            <p:custDataLst>
              <p:tags r:id="rId45"/>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0" name="think-cell Slide" r:id="rId46" imgW="12700" imgH="12700" progId="">
                  <p:embed/>
                </p:oleObj>
              </mc:Choice>
              <mc:Fallback>
                <p:oleObj name="think-cell Slide" r:id="rId46" imgW="12700" imgH="12700" progId="">
                  <p:embed/>
                  <p:pic>
                    <p:nvPicPr>
                      <p:cNvPr id="0" name="Object 289"/>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8" name="Oval 8"/>
          <p:cNvSpPr/>
          <p:nvPr userDrawn="1"/>
        </p:nvSpPr>
        <p:spPr>
          <a:xfrm flipH="1">
            <a:off x="8244254" y="4866085"/>
            <a:ext cx="211015" cy="171450"/>
          </a:xfrm>
          <a:prstGeom prst="ellipse">
            <a:avLst/>
          </a:prstGeom>
          <a:solidFill>
            <a:schemeClr val="tx2">
              <a:alpha val="25000"/>
            </a:schemeClr>
          </a:solidFill>
          <a:ln>
            <a:noFill/>
          </a:ln>
        </p:spPr>
        <p:style>
          <a:lnRef idx="2">
            <a:schemeClr val="dk1"/>
          </a:lnRef>
          <a:fillRef idx="1">
            <a:schemeClr val="lt1"/>
          </a:fillRef>
          <a:effectRef idx="0">
            <a:schemeClr val="dk1"/>
          </a:effectRef>
          <a:fontRef idx="minor">
            <a:schemeClr val="dk1"/>
          </a:fontRef>
        </p:style>
        <p:txBody>
          <a:bodyPr lIns="0" tIns="0" rIns="0" bIns="8100" anchor="ctr"/>
          <a:lstStyle/>
          <a:p>
            <a:pPr algn="ctr" eaLnBrk="1" fontAlgn="auto" latinLnBrk="1" hangingPunct="1">
              <a:spcBef>
                <a:spcPts val="0"/>
              </a:spcBef>
              <a:spcAft>
                <a:spcPts val="0"/>
              </a:spcAft>
              <a:defRPr/>
            </a:pPr>
            <a:endParaRPr lang="en-US" sz="675" dirty="0">
              <a:gradFill flip="none" rotWithShape="1">
                <a:gsLst>
                  <a:gs pos="0">
                    <a:srgbClr val="FFFFFF"/>
                  </a:gs>
                  <a:gs pos="100000">
                    <a:srgbClr val="FFFFFF"/>
                  </a:gs>
                </a:gsLst>
                <a:lin ang="0" scaled="1"/>
                <a:tileRect/>
              </a:gradFill>
              <a:latin typeface="Bebas Neue"/>
            </a:endParaRPr>
          </a:p>
        </p:txBody>
      </p:sp>
      <p:cxnSp>
        <p:nvCxnSpPr>
          <p:cNvPr id="22" name="직선 연결선 25"/>
          <p:cNvCxnSpPr/>
          <p:nvPr/>
        </p:nvCxnSpPr>
        <p:spPr>
          <a:xfrm>
            <a:off x="720969" y="742950"/>
            <a:ext cx="32385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슬라이드 번호 개체 틀 4"/>
          <p:cNvSpPr txBox="1"/>
          <p:nvPr/>
        </p:nvSpPr>
        <p:spPr>
          <a:xfrm>
            <a:off x="8127024" y="4867275"/>
            <a:ext cx="413238" cy="179785"/>
          </a:xfrm>
          <a:prstGeom prst="rect">
            <a:avLst/>
          </a:prstGeom>
        </p:spPr>
        <p:txBody>
          <a:bodyPr tIns="0" bIns="0" anchor="ctr"/>
          <a:lstStyle>
            <a:lvl1pPr eaLnBrk="0" hangingPunct="0">
              <a:defRPr>
                <a:solidFill>
                  <a:schemeClr val="tx1"/>
                </a:solidFill>
                <a:latin typeface="Arial" panose="020B0604020202020204" pitchFamily="34" charset="0"/>
                <a:ea typeface="Roboto Condensed Light"/>
                <a:cs typeface="Roboto Condensed Light"/>
              </a:defRPr>
            </a:lvl1pPr>
            <a:lvl2pPr marL="742950" indent="-285750" eaLnBrk="0" hangingPunct="0">
              <a:defRPr>
                <a:solidFill>
                  <a:schemeClr val="tx1"/>
                </a:solidFill>
                <a:latin typeface="Arial" panose="020B0604020202020204" pitchFamily="34" charset="0"/>
                <a:ea typeface="Roboto Condensed Light"/>
                <a:cs typeface="Roboto Condensed Light"/>
              </a:defRPr>
            </a:lvl2pPr>
            <a:lvl3pPr marL="1143000" indent="-228600" eaLnBrk="0" hangingPunct="0">
              <a:defRPr>
                <a:solidFill>
                  <a:schemeClr val="tx1"/>
                </a:solidFill>
                <a:latin typeface="Arial" panose="020B0604020202020204" pitchFamily="34" charset="0"/>
                <a:ea typeface="Roboto Condensed Light"/>
                <a:cs typeface="Roboto Condensed Light"/>
              </a:defRPr>
            </a:lvl3pPr>
            <a:lvl4pPr marL="1600200" indent="-228600" eaLnBrk="0" hangingPunct="0">
              <a:defRPr>
                <a:solidFill>
                  <a:schemeClr val="tx1"/>
                </a:solidFill>
                <a:latin typeface="Arial" panose="020B0604020202020204" pitchFamily="34" charset="0"/>
                <a:ea typeface="Roboto Condensed Light"/>
                <a:cs typeface="Roboto Condensed Light"/>
              </a:defRPr>
            </a:lvl4pPr>
            <a:lvl5pPr marL="2057400" indent="-228600" eaLnBrk="0" hangingPunct="0">
              <a:defRPr>
                <a:solidFill>
                  <a:schemeClr val="tx1"/>
                </a:solidFill>
                <a:latin typeface="Arial" panose="020B0604020202020204" pitchFamily="34" charset="0"/>
                <a:ea typeface="Roboto Condensed Light"/>
                <a:cs typeface="Roboto Condensed Light"/>
              </a:defRPr>
            </a:lvl5pPr>
            <a:lvl6pPr marL="25146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6pPr>
            <a:lvl7pPr marL="29718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7pPr>
            <a:lvl8pPr marL="34290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8pPr>
            <a:lvl9pPr marL="3886200" indent="-228600" eaLnBrk="0" fontAlgn="base" hangingPunct="0">
              <a:spcBef>
                <a:spcPct val="0"/>
              </a:spcBef>
              <a:spcAft>
                <a:spcPct val="0"/>
              </a:spcAft>
              <a:defRPr>
                <a:solidFill>
                  <a:schemeClr val="tx1"/>
                </a:solidFill>
                <a:latin typeface="Arial" panose="020B0604020202020204" pitchFamily="34" charset="0"/>
                <a:ea typeface="Roboto Condensed Light"/>
                <a:cs typeface="Roboto Condensed Light"/>
              </a:defRPr>
            </a:lvl9pPr>
          </a:lstStyle>
          <a:p>
            <a:pPr algn="ctr" eaLnBrk="1" latinLnBrk="1" hangingPunct="1">
              <a:defRPr/>
            </a:pPr>
            <a:fld id="{85BF5E94-0687-466C-ABAF-971581632220}" type="slidenum">
              <a:rPr lang="ko-KR" altLang="en-US" sz="675" b="1" smtClean="0">
                <a:solidFill>
                  <a:srgbClr val="FFFFFF"/>
                </a:solidFill>
                <a:latin typeface="Roboto Condensed Regular"/>
              </a:rPr>
            </a:fld>
            <a:endParaRPr lang="ko-KR" altLang="en-US" sz="675" b="1">
              <a:solidFill>
                <a:srgbClr val="FFFFFF"/>
              </a:solidFill>
              <a:latin typeface="Roboto Condensed Regular"/>
            </a:endParaRPr>
          </a:p>
        </p:txBody>
      </p:sp>
      <p:sp>
        <p:nvSpPr>
          <p:cNvPr id="7" name="TextBox 6"/>
          <p:cNvSpPr txBox="1">
            <a:spLocks noChangeArrowheads="1"/>
          </p:cNvSpPr>
          <p:nvPr userDrawn="1"/>
        </p:nvSpPr>
        <p:spPr bwMode="auto">
          <a:xfrm>
            <a:off x="6917815" y="0"/>
            <a:ext cx="2226185" cy="230832"/>
          </a:xfrm>
          <a:prstGeom prst="rect">
            <a:avLst/>
          </a:prstGeom>
          <a:noFill/>
          <a:ln>
            <a:noFill/>
          </a:ln>
        </p:spPr>
        <p:txBody>
          <a:bodyPr wrap="square">
            <a:spAutoFit/>
          </a:bodyPr>
          <a:lstStyle>
            <a:lvl1pPr>
              <a:defRPr>
                <a:solidFill>
                  <a:schemeClr val="tx1"/>
                </a:solidFill>
                <a:latin typeface="Arial" panose="020B0604020202020204" pitchFamily="34" charset="0"/>
                <a:ea typeface="Roboto Condensed Light" pitchFamily="2" charset="0"/>
                <a:cs typeface="Roboto Condensed Light" pitchFamily="2" charset="0"/>
              </a:defRPr>
            </a:lvl1pPr>
            <a:lvl2pPr marL="742950" indent="-285750">
              <a:defRPr>
                <a:solidFill>
                  <a:schemeClr val="tx1"/>
                </a:solidFill>
                <a:latin typeface="Arial" panose="020B0604020202020204" pitchFamily="34" charset="0"/>
                <a:ea typeface="Roboto Condensed Light" pitchFamily="2" charset="0"/>
                <a:cs typeface="Roboto Condensed Light" pitchFamily="2" charset="0"/>
              </a:defRPr>
            </a:lvl2pPr>
            <a:lvl3pPr marL="1143000" indent="-228600">
              <a:defRPr>
                <a:solidFill>
                  <a:schemeClr val="tx1"/>
                </a:solidFill>
                <a:latin typeface="Arial" panose="020B0604020202020204" pitchFamily="34" charset="0"/>
                <a:ea typeface="Roboto Condensed Light" pitchFamily="2" charset="0"/>
                <a:cs typeface="Roboto Condensed Light" pitchFamily="2" charset="0"/>
              </a:defRPr>
            </a:lvl3pPr>
            <a:lvl4pPr marL="1600200" indent="-228600">
              <a:defRPr>
                <a:solidFill>
                  <a:schemeClr val="tx1"/>
                </a:solidFill>
                <a:latin typeface="Arial" panose="020B0604020202020204" pitchFamily="34" charset="0"/>
                <a:ea typeface="Roboto Condensed Light" pitchFamily="2" charset="0"/>
                <a:cs typeface="Roboto Condensed Light" pitchFamily="2" charset="0"/>
              </a:defRPr>
            </a:lvl4pPr>
            <a:lvl5pPr marL="2057400" indent="-228600">
              <a:defRPr>
                <a:solidFill>
                  <a:schemeClr val="tx1"/>
                </a:solidFill>
                <a:latin typeface="Arial" panose="020B0604020202020204" pitchFamily="34" charset="0"/>
                <a:ea typeface="Roboto Condensed Light" pitchFamily="2" charset="0"/>
                <a:cs typeface="Roboto Condensed Light" pitchFamily="2" charset="0"/>
              </a:defRPr>
            </a:lvl5pPr>
            <a:lvl6pPr marL="2514600" indent="-228600" eaLnBrk="0" fontAlgn="base" hangingPunct="0">
              <a:spcBef>
                <a:spcPct val="0"/>
              </a:spcBef>
              <a:spcAft>
                <a:spcPct val="0"/>
              </a:spcAft>
              <a:defRPr>
                <a:solidFill>
                  <a:schemeClr val="tx1"/>
                </a:solidFill>
                <a:latin typeface="Arial" panose="020B0604020202020204" pitchFamily="34" charset="0"/>
                <a:ea typeface="Roboto Condensed Light" pitchFamily="2" charset="0"/>
                <a:cs typeface="Roboto Condensed Light" pitchFamily="2" charset="0"/>
              </a:defRPr>
            </a:lvl6pPr>
            <a:lvl7pPr marL="2971800" indent="-228600" eaLnBrk="0" fontAlgn="base" hangingPunct="0">
              <a:spcBef>
                <a:spcPct val="0"/>
              </a:spcBef>
              <a:spcAft>
                <a:spcPct val="0"/>
              </a:spcAft>
              <a:defRPr>
                <a:solidFill>
                  <a:schemeClr val="tx1"/>
                </a:solidFill>
                <a:latin typeface="Arial" panose="020B0604020202020204" pitchFamily="34" charset="0"/>
                <a:ea typeface="Roboto Condensed Light" pitchFamily="2" charset="0"/>
                <a:cs typeface="Roboto Condensed Light" pitchFamily="2" charset="0"/>
              </a:defRPr>
            </a:lvl7pPr>
            <a:lvl8pPr marL="3429000" indent="-228600" eaLnBrk="0" fontAlgn="base" hangingPunct="0">
              <a:spcBef>
                <a:spcPct val="0"/>
              </a:spcBef>
              <a:spcAft>
                <a:spcPct val="0"/>
              </a:spcAft>
              <a:defRPr>
                <a:solidFill>
                  <a:schemeClr val="tx1"/>
                </a:solidFill>
                <a:latin typeface="Arial" panose="020B0604020202020204" pitchFamily="34" charset="0"/>
                <a:ea typeface="Roboto Condensed Light" pitchFamily="2" charset="0"/>
                <a:cs typeface="Roboto Condensed Light" pitchFamily="2" charset="0"/>
              </a:defRPr>
            </a:lvl8pPr>
            <a:lvl9pPr marL="3886200" indent="-228600" eaLnBrk="0" fontAlgn="base" hangingPunct="0">
              <a:spcBef>
                <a:spcPct val="0"/>
              </a:spcBef>
              <a:spcAft>
                <a:spcPct val="0"/>
              </a:spcAft>
              <a:defRPr>
                <a:solidFill>
                  <a:schemeClr val="tx1"/>
                </a:solidFill>
                <a:latin typeface="Arial" panose="020B0604020202020204" pitchFamily="34" charset="0"/>
                <a:ea typeface="Roboto Condensed Light" pitchFamily="2" charset="0"/>
                <a:cs typeface="Roboto Condensed Light" pitchFamily="2" charset="0"/>
              </a:defRPr>
            </a:lvl9pPr>
          </a:lstStyle>
          <a:p>
            <a:pPr eaLnBrk="1" latinLnBrk="1" hangingPunct="1">
              <a:defRPr/>
            </a:pPr>
            <a:r>
              <a:rPr lang="en-IN" altLang="en-US" sz="900" b="1" dirty="0">
                <a:solidFill>
                  <a:srgbClr val="7F7F7F"/>
                </a:solidFill>
                <a:latin typeface="Arial" panose="020B0604020202020204" pitchFamily="34" charset="0"/>
                <a:cs typeface="Arial" panose="020B0604020202020204" pitchFamily="34" charset="0"/>
              </a:rPr>
              <a:t>            Private &amp; Confidential</a:t>
            </a:r>
            <a:endParaRPr lang="en-IN" altLang="en-US" sz="900" b="1" dirty="0">
              <a:solidFill>
                <a:srgbClr val="7F7F7F"/>
              </a:solidFill>
              <a:latin typeface="Arial" panose="020B0604020202020204" pitchFamily="34" charset="0"/>
              <a:cs typeface="Arial" panose="020B0604020202020204" pitchFamily="34" charset="0"/>
            </a:endParaRPr>
          </a:p>
        </p:txBody>
      </p:sp>
      <p:pic>
        <p:nvPicPr>
          <p:cNvPr id="9" name="Picture 9"/>
          <p:cNvPicPr>
            <a:picLocks noChangeAspect="1"/>
          </p:cNvPicPr>
          <p:nvPr userDrawn="1"/>
        </p:nvPicPr>
        <p:blipFill>
          <a:blip r:embed="rId48" cstate="print">
            <a:extLst>
              <a:ext uri="{28A0092B-C50C-407E-A947-70E740481C1C}">
                <a14:useLocalDpi xmlns:a14="http://schemas.microsoft.com/office/drawing/2010/main" val="0"/>
              </a:ext>
            </a:extLst>
          </a:blip>
          <a:srcRect/>
          <a:stretch>
            <a:fillRect/>
          </a:stretch>
        </p:blipFill>
        <p:spPr bwMode="auto">
          <a:xfrm>
            <a:off x="8191806" y="171450"/>
            <a:ext cx="773722" cy="442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 id="2147483690" r:id="rId22"/>
    <p:sldLayoutId id="2147483691" r:id="rId23"/>
    <p:sldLayoutId id="2147483692" r:id="rId24"/>
    <p:sldLayoutId id="2147483693" r:id="rId25"/>
    <p:sldLayoutId id="2147483694" r:id="rId26"/>
    <p:sldLayoutId id="2147483695" r:id="rId27"/>
    <p:sldLayoutId id="2147483696" r:id="rId28"/>
    <p:sldLayoutId id="2147483697" r:id="rId29"/>
    <p:sldLayoutId id="2147483698" r:id="rId30"/>
    <p:sldLayoutId id="2147483699" r:id="rId31"/>
    <p:sldLayoutId id="2147483700" r:id="rId32"/>
    <p:sldLayoutId id="2147483701" r:id="rId33"/>
    <p:sldLayoutId id="2147483702" r:id="rId34"/>
    <p:sldLayoutId id="2147483703" r:id="rId35"/>
    <p:sldLayoutId id="2147483704" r:id="rId36"/>
    <p:sldLayoutId id="2147483705" r:id="rId37"/>
    <p:sldLayoutId id="2147483706" r:id="rId38"/>
    <p:sldLayoutId id="2147483707" r:id="rId39"/>
    <p:sldLayoutId id="2147483708" r:id="rId40"/>
    <p:sldLayoutId id="2147483709" r:id="rId41"/>
    <p:sldLayoutId id="2147483710" r:id="rId42"/>
    <p:sldLayoutId id="2147483711" r:id="rId43"/>
    <p:sldLayoutId id="2147483712" r:id="rId44"/>
  </p:sldLayoutIdLst>
  <p:transition spd="med">
    <p:fade/>
  </p:transition>
  <p:hf sldNum="0" hdr="0" dt="0"/>
  <p:txStyles>
    <p:titleStyle>
      <a:lvl1pPr algn="l" rtl="0" eaLnBrk="0" fontAlgn="base" latinLnBrk="1" hangingPunct="0">
        <a:lnSpc>
          <a:spcPts val="2025"/>
        </a:lnSpc>
        <a:spcBef>
          <a:spcPct val="0"/>
        </a:spcBef>
        <a:spcAft>
          <a:spcPct val="0"/>
        </a:spcAft>
        <a:defRPr sz="1800" b="1" kern="1200">
          <a:gradFill>
            <a:gsLst>
              <a:gs pos="0">
                <a:schemeClr val="tx2"/>
              </a:gs>
              <a:gs pos="100000">
                <a:schemeClr val="tx2"/>
              </a:gs>
            </a:gsLst>
            <a:lin ang="0" scaled="1"/>
          </a:gradFill>
          <a:latin typeface="Bebas Neue"/>
          <a:ea typeface="+mj-ea"/>
          <a:cs typeface="Roboto Condensed Regular"/>
        </a:defRPr>
      </a:lvl1pPr>
      <a:lvl2pPr algn="l" rtl="0" eaLnBrk="0" fontAlgn="base" latinLnBrk="1" hangingPunct="0">
        <a:lnSpc>
          <a:spcPts val="2025"/>
        </a:lnSpc>
        <a:spcBef>
          <a:spcPct val="0"/>
        </a:spcBef>
        <a:spcAft>
          <a:spcPct val="0"/>
        </a:spcAft>
        <a:defRPr sz="1800" b="1">
          <a:solidFill>
            <a:schemeClr val="tx1"/>
          </a:solidFill>
          <a:latin typeface="Bebas Neue"/>
          <a:ea typeface="Roboto Condensed Regular"/>
          <a:cs typeface="Roboto Condensed Regular"/>
        </a:defRPr>
      </a:lvl2pPr>
      <a:lvl3pPr algn="l" rtl="0" eaLnBrk="0" fontAlgn="base" latinLnBrk="1" hangingPunct="0">
        <a:lnSpc>
          <a:spcPts val="2025"/>
        </a:lnSpc>
        <a:spcBef>
          <a:spcPct val="0"/>
        </a:spcBef>
        <a:spcAft>
          <a:spcPct val="0"/>
        </a:spcAft>
        <a:defRPr sz="1800" b="1">
          <a:solidFill>
            <a:schemeClr val="tx1"/>
          </a:solidFill>
          <a:latin typeface="Bebas Neue"/>
          <a:ea typeface="Roboto Condensed Regular"/>
          <a:cs typeface="Roboto Condensed Regular"/>
        </a:defRPr>
      </a:lvl3pPr>
      <a:lvl4pPr algn="l" rtl="0" eaLnBrk="0" fontAlgn="base" latinLnBrk="1" hangingPunct="0">
        <a:lnSpc>
          <a:spcPts val="2025"/>
        </a:lnSpc>
        <a:spcBef>
          <a:spcPct val="0"/>
        </a:spcBef>
        <a:spcAft>
          <a:spcPct val="0"/>
        </a:spcAft>
        <a:defRPr sz="1800" b="1">
          <a:solidFill>
            <a:schemeClr val="tx1"/>
          </a:solidFill>
          <a:latin typeface="Bebas Neue"/>
          <a:ea typeface="Roboto Condensed Regular"/>
          <a:cs typeface="Roboto Condensed Regular"/>
        </a:defRPr>
      </a:lvl4pPr>
      <a:lvl5pPr algn="l" rtl="0" eaLnBrk="0" fontAlgn="base" latinLnBrk="1" hangingPunct="0">
        <a:lnSpc>
          <a:spcPts val="2025"/>
        </a:lnSpc>
        <a:spcBef>
          <a:spcPct val="0"/>
        </a:spcBef>
        <a:spcAft>
          <a:spcPct val="0"/>
        </a:spcAft>
        <a:defRPr sz="1800" b="1">
          <a:solidFill>
            <a:schemeClr val="tx1"/>
          </a:solidFill>
          <a:latin typeface="Bebas Neue"/>
          <a:ea typeface="Roboto Condensed Regular"/>
          <a:cs typeface="Roboto Condensed Regular"/>
        </a:defRPr>
      </a:lvl5pPr>
      <a:lvl6pPr marL="342900" algn="l" rtl="0" fontAlgn="base" latinLnBrk="1">
        <a:lnSpc>
          <a:spcPts val="2025"/>
        </a:lnSpc>
        <a:spcBef>
          <a:spcPct val="0"/>
        </a:spcBef>
        <a:spcAft>
          <a:spcPct val="0"/>
        </a:spcAft>
        <a:defRPr sz="1800" b="1">
          <a:solidFill>
            <a:schemeClr val="tx1"/>
          </a:solidFill>
          <a:latin typeface="Bebas Neue"/>
          <a:ea typeface="Roboto Condensed Regular"/>
          <a:cs typeface="Roboto Condensed Regular"/>
        </a:defRPr>
      </a:lvl6pPr>
      <a:lvl7pPr marL="685800" algn="l" rtl="0" fontAlgn="base" latinLnBrk="1">
        <a:lnSpc>
          <a:spcPts val="2025"/>
        </a:lnSpc>
        <a:spcBef>
          <a:spcPct val="0"/>
        </a:spcBef>
        <a:spcAft>
          <a:spcPct val="0"/>
        </a:spcAft>
        <a:defRPr sz="1800" b="1">
          <a:solidFill>
            <a:schemeClr val="tx1"/>
          </a:solidFill>
          <a:latin typeface="Bebas Neue"/>
          <a:ea typeface="Roboto Condensed Regular"/>
          <a:cs typeface="Roboto Condensed Regular"/>
        </a:defRPr>
      </a:lvl7pPr>
      <a:lvl8pPr marL="1028700" algn="l" rtl="0" fontAlgn="base" latinLnBrk="1">
        <a:lnSpc>
          <a:spcPts val="2025"/>
        </a:lnSpc>
        <a:spcBef>
          <a:spcPct val="0"/>
        </a:spcBef>
        <a:spcAft>
          <a:spcPct val="0"/>
        </a:spcAft>
        <a:defRPr sz="1800" b="1">
          <a:solidFill>
            <a:schemeClr val="tx1"/>
          </a:solidFill>
          <a:latin typeface="Bebas Neue"/>
          <a:ea typeface="Roboto Condensed Regular"/>
          <a:cs typeface="Roboto Condensed Regular"/>
        </a:defRPr>
      </a:lvl8pPr>
      <a:lvl9pPr marL="1371600" algn="l" rtl="0" fontAlgn="base" latinLnBrk="1">
        <a:lnSpc>
          <a:spcPts val="2025"/>
        </a:lnSpc>
        <a:spcBef>
          <a:spcPct val="0"/>
        </a:spcBef>
        <a:spcAft>
          <a:spcPct val="0"/>
        </a:spcAft>
        <a:defRPr sz="1800" b="1">
          <a:solidFill>
            <a:schemeClr val="tx1"/>
          </a:solidFill>
          <a:latin typeface="Bebas Neue"/>
          <a:ea typeface="Roboto Condensed Regular"/>
          <a:cs typeface="Roboto Condensed Regular"/>
        </a:defRPr>
      </a:lvl9pPr>
    </p:titleStyle>
    <p:bodyStyle>
      <a:lvl1pPr marL="257175" indent="-257175" algn="l" rtl="0" eaLnBrk="0" fontAlgn="base" latinLnBrk="1" hangingPunct="0">
        <a:spcBef>
          <a:spcPct val="20000"/>
        </a:spcBef>
        <a:spcAft>
          <a:spcPct val="0"/>
        </a:spcAft>
        <a:buFont typeface="Arial" panose="020B0604020202020204" pitchFamily="34" charset="0"/>
        <a:buChar char="•"/>
        <a:defRPr sz="2400" kern="1200">
          <a:solidFill>
            <a:schemeClr val="tx1"/>
          </a:solidFill>
          <a:latin typeface="+mn-lt"/>
          <a:ea typeface="+mn-ea"/>
          <a:cs typeface="Roboto Condensed Light"/>
        </a:defRPr>
      </a:lvl1pPr>
      <a:lvl2pPr marL="557530" indent="-214630" algn="l" rtl="0" eaLnBrk="0" fontAlgn="base" latinLnBrk="1" hangingPunct="0">
        <a:spcBef>
          <a:spcPct val="20000"/>
        </a:spcBef>
        <a:spcAft>
          <a:spcPct val="0"/>
        </a:spcAft>
        <a:buFont typeface="Arial" panose="020B0604020202020204" pitchFamily="34" charset="0"/>
        <a:buChar char="–"/>
        <a:defRPr sz="2100" kern="1200">
          <a:solidFill>
            <a:schemeClr val="tx1"/>
          </a:solidFill>
          <a:latin typeface="+mn-lt"/>
          <a:ea typeface="+mn-ea"/>
          <a:cs typeface="Roboto Condensed Light"/>
        </a:defRPr>
      </a:lvl2pPr>
      <a:lvl3pPr marL="857250" indent="-171450" algn="l" rtl="0" eaLnBrk="0" fontAlgn="base" latinLnBrk="1" hangingPunct="0">
        <a:spcBef>
          <a:spcPct val="20000"/>
        </a:spcBef>
        <a:spcAft>
          <a:spcPct val="0"/>
        </a:spcAft>
        <a:buFont typeface="Arial" panose="020B0604020202020204" pitchFamily="34" charset="0"/>
        <a:buChar char="•"/>
        <a:defRPr sz="1800" kern="1200">
          <a:solidFill>
            <a:schemeClr val="tx1"/>
          </a:solidFill>
          <a:latin typeface="+mn-lt"/>
          <a:ea typeface="+mn-ea"/>
          <a:cs typeface="Roboto Condensed Light"/>
        </a:defRPr>
      </a:lvl3pPr>
      <a:lvl4pPr marL="1200150" indent="-171450" algn="l" rtl="0" eaLnBrk="0" fontAlgn="base" latinLnBrk="1" hangingPunct="0">
        <a:spcBef>
          <a:spcPct val="20000"/>
        </a:spcBef>
        <a:spcAft>
          <a:spcPct val="0"/>
        </a:spcAft>
        <a:buFont typeface="Arial" panose="020B0604020202020204" pitchFamily="34" charset="0"/>
        <a:buChar char="–"/>
        <a:defRPr sz="1500" kern="1200">
          <a:solidFill>
            <a:schemeClr val="tx1"/>
          </a:solidFill>
          <a:latin typeface="+mn-lt"/>
          <a:ea typeface="+mn-ea"/>
          <a:cs typeface="Roboto Condensed Light"/>
        </a:defRPr>
      </a:lvl4pPr>
      <a:lvl5pPr marL="1543050" indent="-171450" algn="l" rtl="0" eaLnBrk="0" fontAlgn="base" latinLnBrk="1" hangingPunct="0">
        <a:spcBef>
          <a:spcPct val="20000"/>
        </a:spcBef>
        <a:spcAft>
          <a:spcPct val="0"/>
        </a:spcAft>
        <a:buFont typeface="Arial" panose="020B0604020202020204" pitchFamily="34" charset="0"/>
        <a:buChar char="»"/>
        <a:defRPr sz="1500" kern="1200">
          <a:solidFill>
            <a:schemeClr val="tx1"/>
          </a:solidFill>
          <a:latin typeface="+mn-lt"/>
          <a:ea typeface="+mn-ea"/>
          <a:cs typeface="Roboto Condensed Light"/>
        </a:defRPr>
      </a:lvl5pPr>
      <a:lvl6pPr marL="1885950" indent="-171450" algn="l" defTabSz="685800" rtl="0" eaLnBrk="1" latinLnBrk="1"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1"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1"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1"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ko-KR"/>
      </a:defPPr>
      <a:lvl1pPr marL="0" algn="l" defTabSz="685800" rtl="0" eaLnBrk="1" latinLnBrk="1" hangingPunct="1">
        <a:defRPr sz="1350" kern="1200">
          <a:solidFill>
            <a:schemeClr val="tx1"/>
          </a:solidFill>
          <a:latin typeface="+mn-lt"/>
          <a:ea typeface="+mn-ea"/>
          <a:cs typeface="+mn-cs"/>
        </a:defRPr>
      </a:lvl1pPr>
      <a:lvl2pPr marL="342900" algn="l" defTabSz="685800" rtl="0" eaLnBrk="1" latinLnBrk="1" hangingPunct="1">
        <a:defRPr sz="1350" kern="1200">
          <a:solidFill>
            <a:schemeClr val="tx1"/>
          </a:solidFill>
          <a:latin typeface="+mn-lt"/>
          <a:ea typeface="+mn-ea"/>
          <a:cs typeface="+mn-cs"/>
        </a:defRPr>
      </a:lvl2pPr>
      <a:lvl3pPr marL="685800" algn="l" defTabSz="685800" rtl="0" eaLnBrk="1" latinLnBrk="1" hangingPunct="1">
        <a:defRPr sz="1350" kern="1200">
          <a:solidFill>
            <a:schemeClr val="tx1"/>
          </a:solidFill>
          <a:latin typeface="+mn-lt"/>
          <a:ea typeface="+mn-ea"/>
          <a:cs typeface="+mn-cs"/>
        </a:defRPr>
      </a:lvl3pPr>
      <a:lvl4pPr marL="1028700" algn="l" defTabSz="685800" rtl="0" eaLnBrk="1" latinLnBrk="1" hangingPunct="1">
        <a:defRPr sz="1350" kern="1200">
          <a:solidFill>
            <a:schemeClr val="tx1"/>
          </a:solidFill>
          <a:latin typeface="+mn-lt"/>
          <a:ea typeface="+mn-ea"/>
          <a:cs typeface="+mn-cs"/>
        </a:defRPr>
      </a:lvl4pPr>
      <a:lvl5pPr marL="1371600" algn="l" defTabSz="685800" rtl="0" eaLnBrk="1" latinLnBrk="1" hangingPunct="1">
        <a:defRPr sz="1350" kern="1200">
          <a:solidFill>
            <a:schemeClr val="tx1"/>
          </a:solidFill>
          <a:latin typeface="+mn-lt"/>
          <a:ea typeface="+mn-ea"/>
          <a:cs typeface="+mn-cs"/>
        </a:defRPr>
      </a:lvl5pPr>
      <a:lvl6pPr marL="1714500" algn="l" defTabSz="685800" rtl="0" eaLnBrk="1" latinLnBrk="1" hangingPunct="1">
        <a:defRPr sz="1350" kern="1200">
          <a:solidFill>
            <a:schemeClr val="tx1"/>
          </a:solidFill>
          <a:latin typeface="+mn-lt"/>
          <a:ea typeface="+mn-ea"/>
          <a:cs typeface="+mn-cs"/>
        </a:defRPr>
      </a:lvl6pPr>
      <a:lvl7pPr marL="2057400" algn="l" defTabSz="685800" rtl="0" eaLnBrk="1" latinLnBrk="1" hangingPunct="1">
        <a:defRPr sz="1350" kern="1200">
          <a:solidFill>
            <a:schemeClr val="tx1"/>
          </a:solidFill>
          <a:latin typeface="+mn-lt"/>
          <a:ea typeface="+mn-ea"/>
          <a:cs typeface="+mn-cs"/>
        </a:defRPr>
      </a:lvl7pPr>
      <a:lvl8pPr marL="2400300" algn="l" defTabSz="685800" rtl="0" eaLnBrk="1" latinLnBrk="1" hangingPunct="1">
        <a:defRPr sz="1350" kern="1200">
          <a:solidFill>
            <a:schemeClr val="tx1"/>
          </a:solidFill>
          <a:latin typeface="+mn-lt"/>
          <a:ea typeface="+mn-ea"/>
          <a:cs typeface="+mn-cs"/>
        </a:defRPr>
      </a:lvl8pPr>
      <a:lvl9pPr marL="2743200" algn="l" defTabSz="685800" rtl="0" eaLnBrk="1" latinLnBrk="1"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slideLayout" Target="../slideLayouts/slideLayout8.xml"/><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chart" Target="../charts/chart3.xml"/></Relationships>
</file>

<file path=ppt/slides/_rels/slide11.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microsoft.com/office/2007/relationships/diagramDrawing" Target="../diagrams/drawing6.xml"/><Relationship Id="rId4" Type="http://schemas.openxmlformats.org/officeDocument/2006/relationships/diagramColors" Target="../diagrams/colors6.xml"/><Relationship Id="rId3" Type="http://schemas.openxmlformats.org/officeDocument/2006/relationships/diagramQuickStyle" Target="../diagrams/quickStyle6.xml"/><Relationship Id="rId2" Type="http://schemas.openxmlformats.org/officeDocument/2006/relationships/diagramLayout" Target="../diagrams/layout6.xml"/><Relationship Id="rId1" Type="http://schemas.openxmlformats.org/officeDocument/2006/relationships/diagramData" Target="../diagrams/data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chart" Target="../charts/chart4.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chart" Target="../charts/chart5.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chart" Target="../charts/chart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hemeOverride" Target="../theme/themeOverride6.xml"/><Relationship Id="rId1" Type="http://schemas.openxmlformats.org/officeDocument/2006/relationships/chart" Target="../charts/chart7.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chart" Target="../charts/chart8.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chart" Target="../charts/char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image" Target="../media/image3.jpeg"/><Relationship Id="rId1" Type="http://schemas.openxmlformats.org/officeDocument/2006/relationships/image" Target="../media/image9.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9" Type="http://schemas.openxmlformats.org/officeDocument/2006/relationships/diagramColors" Target="../diagrams/colors2.xml"/><Relationship Id="rId8" Type="http://schemas.openxmlformats.org/officeDocument/2006/relationships/diagramQuickStyle" Target="../diagrams/quickStyle2.xml"/><Relationship Id="rId7" Type="http://schemas.openxmlformats.org/officeDocument/2006/relationships/diagramLayout" Target="../diagrams/layout2.xml"/><Relationship Id="rId6" Type="http://schemas.openxmlformats.org/officeDocument/2006/relationships/diagramData" Target="../diagrams/data2.xml"/><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1" Type="http://schemas.openxmlformats.org/officeDocument/2006/relationships/slideLayout" Target="../slideLayouts/slideLayout2.xml"/><Relationship Id="rId10" Type="http://schemas.microsoft.com/office/2007/relationships/diagramDrawing" Target="../diagrams/drawing2.xml"/><Relationship Id="rId1" Type="http://schemas.openxmlformats.org/officeDocument/2006/relationships/diagramData" Target="../diagrams/data1.xml"/></Relationships>
</file>

<file path=ppt/slides/_rels/slide4.xml.rels><?xml version="1.0" encoding="UTF-8" standalone="yes"?>
<Relationships xmlns="http://schemas.openxmlformats.org/package/2006/relationships"><Relationship Id="rId9" Type="http://schemas.openxmlformats.org/officeDocument/2006/relationships/diagramColors" Target="../diagrams/colors4.xml"/><Relationship Id="rId8" Type="http://schemas.openxmlformats.org/officeDocument/2006/relationships/diagramQuickStyle" Target="../diagrams/quickStyle4.xml"/><Relationship Id="rId7" Type="http://schemas.openxmlformats.org/officeDocument/2006/relationships/diagramLayout" Target="../diagrams/layout4.xml"/><Relationship Id="rId6" Type="http://schemas.openxmlformats.org/officeDocument/2006/relationships/diagramData" Target="../diagrams/data4.xml"/><Relationship Id="rId5" Type="http://schemas.microsoft.com/office/2007/relationships/diagramDrawing" Target="../diagrams/drawing3.xml"/><Relationship Id="rId4" Type="http://schemas.openxmlformats.org/officeDocument/2006/relationships/diagramColors" Target="../diagrams/colors3.xml"/><Relationship Id="rId3" Type="http://schemas.openxmlformats.org/officeDocument/2006/relationships/diagramQuickStyle" Target="../diagrams/quickStyle3.xml"/><Relationship Id="rId2" Type="http://schemas.openxmlformats.org/officeDocument/2006/relationships/diagramLayout" Target="../diagrams/layout3.xml"/><Relationship Id="rId11" Type="http://schemas.openxmlformats.org/officeDocument/2006/relationships/slideLayout" Target="../slideLayouts/slideLayout2.xml"/><Relationship Id="rId10" Type="http://schemas.microsoft.com/office/2007/relationships/diagramDrawing" Target="../diagrams/drawing4.xml"/><Relationship Id="rId1" Type="http://schemas.openxmlformats.org/officeDocument/2006/relationships/diagramData" Target="../diagrams/data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microsoft.com/office/2007/relationships/diagramDrawing" Target="../diagrams/drawing5.xml"/><Relationship Id="rId4" Type="http://schemas.openxmlformats.org/officeDocument/2006/relationships/diagramColors" Target="../diagrams/colors5.xml"/><Relationship Id="rId3" Type="http://schemas.openxmlformats.org/officeDocument/2006/relationships/diagramQuickStyle" Target="../diagrams/quickStyle5.xml"/><Relationship Id="rId2" Type="http://schemas.openxmlformats.org/officeDocument/2006/relationships/diagramLayout" Target="../diagrams/layout5.xml"/><Relationship Id="rId1" Type="http://schemas.openxmlformats.org/officeDocument/2006/relationships/diagramData" Target="../diagrams/data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chart" Target="../charts/chart2.xml"/><Relationship Id="rId1" Type="http://schemas.openxmlformats.org/officeDocument/2006/relationships/chart" Target="../charts/char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2" name="Text Box 134"/>
          <p:cNvSpPr txBox="1">
            <a:spLocks noChangeArrowheads="1"/>
          </p:cNvSpPr>
          <p:nvPr/>
        </p:nvSpPr>
        <p:spPr bwMode="auto">
          <a:xfrm>
            <a:off x="4572000" y="454819"/>
            <a:ext cx="3239691"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Narrow" panose="020B0606020202030204" pitchFamily="34" charset="0"/>
              </a:defRPr>
            </a:lvl1pPr>
            <a:lvl2pPr marL="742950" indent="-285750">
              <a:spcBef>
                <a:spcPct val="20000"/>
              </a:spcBef>
              <a:buChar char="–"/>
              <a:defRPr sz="2200">
                <a:solidFill>
                  <a:schemeClr val="tx1"/>
                </a:solidFill>
                <a:latin typeface="Arial Narrow" panose="020B0606020202030204" pitchFamily="34" charset="0"/>
              </a:defRPr>
            </a:lvl2pPr>
            <a:lvl3pPr marL="1143000" indent="-228600">
              <a:spcBef>
                <a:spcPct val="20000"/>
              </a:spcBef>
              <a:buChar char="•"/>
              <a:defRPr sz="2000">
                <a:solidFill>
                  <a:schemeClr val="tx1"/>
                </a:solidFill>
                <a:latin typeface="Arial Narrow" panose="020B0606020202030204" pitchFamily="34" charset="0"/>
              </a:defRPr>
            </a:lvl3pPr>
            <a:lvl4pPr marL="1600200" indent="-228600">
              <a:spcBef>
                <a:spcPct val="20000"/>
              </a:spcBef>
              <a:buChar char="–"/>
              <a:defRPr sz="2000">
                <a:solidFill>
                  <a:schemeClr val="tx1"/>
                </a:solidFill>
                <a:latin typeface="Arial Narrow" panose="020B0606020202030204" pitchFamily="34" charset="0"/>
              </a:defRPr>
            </a:lvl4pPr>
            <a:lvl5pPr marL="2057400" indent="-228600">
              <a:spcBef>
                <a:spcPct val="20000"/>
              </a:spcBef>
              <a:buChar char="»"/>
              <a:defRPr sz="1600">
                <a:solidFill>
                  <a:schemeClr val="tx1"/>
                </a:solidFill>
                <a:latin typeface="Arial Narrow" panose="020B0606020202030204" pitchFamily="34" charset="0"/>
              </a:defRPr>
            </a:lvl5pPr>
            <a:lvl6pPr marL="2514600" indent="-228600" eaLnBrk="0" fontAlgn="base" hangingPunct="0">
              <a:spcBef>
                <a:spcPct val="20000"/>
              </a:spcBef>
              <a:spcAft>
                <a:spcPct val="0"/>
              </a:spcAft>
              <a:buChar char="»"/>
              <a:defRPr sz="1600">
                <a:solidFill>
                  <a:schemeClr val="tx1"/>
                </a:solidFill>
                <a:latin typeface="Arial Narrow" panose="020B0606020202030204" pitchFamily="34" charset="0"/>
              </a:defRPr>
            </a:lvl6pPr>
            <a:lvl7pPr marL="2971800" indent="-228600" eaLnBrk="0" fontAlgn="base" hangingPunct="0">
              <a:spcBef>
                <a:spcPct val="20000"/>
              </a:spcBef>
              <a:spcAft>
                <a:spcPct val="0"/>
              </a:spcAft>
              <a:buChar char="»"/>
              <a:defRPr sz="1600">
                <a:solidFill>
                  <a:schemeClr val="tx1"/>
                </a:solidFill>
                <a:latin typeface="Arial Narrow" panose="020B0606020202030204" pitchFamily="34" charset="0"/>
              </a:defRPr>
            </a:lvl7pPr>
            <a:lvl8pPr marL="3429000" indent="-228600" eaLnBrk="0" fontAlgn="base" hangingPunct="0">
              <a:spcBef>
                <a:spcPct val="20000"/>
              </a:spcBef>
              <a:spcAft>
                <a:spcPct val="0"/>
              </a:spcAft>
              <a:buChar char="»"/>
              <a:defRPr sz="1600">
                <a:solidFill>
                  <a:schemeClr val="tx1"/>
                </a:solidFill>
                <a:latin typeface="Arial Narrow" panose="020B0606020202030204" pitchFamily="34" charset="0"/>
              </a:defRPr>
            </a:lvl8pPr>
            <a:lvl9pPr marL="3886200" indent="-228600" eaLnBrk="0" fontAlgn="base" hangingPunct="0">
              <a:spcBef>
                <a:spcPct val="20000"/>
              </a:spcBef>
              <a:spcAft>
                <a:spcPct val="0"/>
              </a:spcAft>
              <a:buChar char="»"/>
              <a:defRPr sz="1600">
                <a:solidFill>
                  <a:schemeClr val="tx1"/>
                </a:solidFill>
                <a:latin typeface="Arial Narrow" panose="020B0606020202030204" pitchFamily="34" charset="0"/>
              </a:defRPr>
            </a:lvl9pPr>
          </a:lstStyle>
          <a:p>
            <a:pPr eaLnBrk="1" hangingPunct="1">
              <a:spcBef>
                <a:spcPct val="0"/>
              </a:spcBef>
              <a:buFontTx/>
              <a:buNone/>
            </a:pPr>
            <a:r>
              <a:rPr lang="en-US" altLang="en-US" sz="1950" dirty="0">
                <a:solidFill>
                  <a:srgbClr val="EAEAEA"/>
                </a:solidFill>
              </a:rPr>
              <a:t>Wealth is only a means </a:t>
            </a:r>
            <a:endParaRPr lang="en-US" altLang="en-US" sz="1950" dirty="0">
              <a:solidFill>
                <a:srgbClr val="EAEAEA"/>
              </a:solidFill>
            </a:endParaRPr>
          </a:p>
          <a:p>
            <a:pPr eaLnBrk="1" hangingPunct="1">
              <a:spcBef>
                <a:spcPct val="0"/>
              </a:spcBef>
              <a:buFontTx/>
              <a:buNone/>
            </a:pPr>
            <a:r>
              <a:rPr lang="en-US" altLang="en-US" sz="1950" dirty="0">
                <a:solidFill>
                  <a:srgbClr val="EAEAEA"/>
                </a:solidFill>
              </a:rPr>
              <a:t>to an end …</a:t>
            </a:r>
            <a:endParaRPr lang="en-US" altLang="en-US" sz="1950" dirty="0">
              <a:solidFill>
                <a:srgbClr val="EAEAEA"/>
              </a:solidFill>
            </a:endParaRPr>
          </a:p>
        </p:txBody>
      </p:sp>
      <p:pic>
        <p:nvPicPr>
          <p:cNvPr id="9" name="Picture 8" descr="A picture containing water, outdoor, sky, lake&#10;&#10;Description automatically generated"/>
          <p:cNvPicPr>
            <a:picLocks noChangeAspect="1"/>
          </p:cNvPicPr>
          <p:nvPr/>
        </p:nvPicPr>
        <p:blipFill>
          <a:blip r:embed="rId1"/>
          <a:stretch>
            <a:fillRect/>
          </a:stretch>
        </p:blipFill>
        <p:spPr>
          <a:xfrm>
            <a:off x="0" y="12030"/>
            <a:ext cx="9144000" cy="5131469"/>
          </a:xfrm>
          <a:prstGeom prst="rect">
            <a:avLst/>
          </a:prstGeom>
        </p:spPr>
      </p:pic>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956470" y="99149"/>
            <a:ext cx="997477" cy="960391"/>
          </a:xfrm>
          <a:prstGeom prst="rect">
            <a:avLst/>
          </a:prstGeom>
        </p:spPr>
      </p:pic>
      <p:sp>
        <p:nvSpPr>
          <p:cNvPr id="11" name="TextBox 10"/>
          <p:cNvSpPr txBox="1"/>
          <p:nvPr/>
        </p:nvSpPr>
        <p:spPr>
          <a:xfrm>
            <a:off x="107380" y="3034233"/>
            <a:ext cx="7345020" cy="849463"/>
          </a:xfrm>
          <a:prstGeom prst="rect">
            <a:avLst/>
          </a:prstGeom>
          <a:noFill/>
        </p:spPr>
        <p:txBody>
          <a:bodyPr wrap="square" rtlCol="0">
            <a:spAutoFit/>
          </a:bodyPr>
          <a:lstStyle/>
          <a:p>
            <a:pPr>
              <a:lnSpc>
                <a:spcPct val="82000"/>
              </a:lnSpc>
            </a:pPr>
            <a:r>
              <a:rPr lang="en-US" sz="3000" spc="-267" dirty="0">
                <a:solidFill>
                  <a:schemeClr val="bg1"/>
                </a:solidFill>
                <a:latin typeface="Calibri" panose="020F0502020204030204" pitchFamily="34" charset="0"/>
                <a:ea typeface="Roboto Thin" panose="02000000000000000000" pitchFamily="2" charset="0"/>
                <a:cs typeface="Calibri" panose="020F0502020204030204" pitchFamily="34" charset="0"/>
              </a:rPr>
              <a:t>Wealth is only a means to an end,</a:t>
            </a:r>
            <a:endParaRPr lang="en-US" sz="3000" spc="-267" dirty="0">
              <a:solidFill>
                <a:schemeClr val="bg1"/>
              </a:solidFill>
              <a:latin typeface="Calibri" panose="020F0502020204030204" pitchFamily="34" charset="0"/>
              <a:ea typeface="Roboto Thin" panose="02000000000000000000" pitchFamily="2" charset="0"/>
              <a:cs typeface="Calibri" panose="020F0502020204030204" pitchFamily="34" charset="0"/>
            </a:endParaRPr>
          </a:p>
          <a:p>
            <a:pPr>
              <a:lnSpc>
                <a:spcPct val="82000"/>
              </a:lnSpc>
            </a:pPr>
            <a:r>
              <a:rPr lang="en-US" sz="3000" spc="-267" dirty="0">
                <a:solidFill>
                  <a:srgbClr val="6FB7F6"/>
                </a:solidFill>
                <a:latin typeface="Calibri" panose="020F0502020204030204" pitchFamily="34" charset="0"/>
                <a:ea typeface="Roboto Thin" panose="02000000000000000000" pitchFamily="2" charset="0"/>
                <a:cs typeface="Calibri" panose="020F0502020204030204" pitchFamily="34" charset="0"/>
              </a:rPr>
              <a:t>celebrate life with Client Associates</a:t>
            </a:r>
            <a:endParaRPr lang="en-US" sz="3000" spc="-267" dirty="0">
              <a:solidFill>
                <a:srgbClr val="6FB7F6"/>
              </a:solidFill>
              <a:latin typeface="Calibri" panose="020F0502020204030204" pitchFamily="34" charset="0"/>
              <a:ea typeface="Roboto Medium" panose="02000000000000000000" pitchFamily="2" charset="0"/>
              <a:cs typeface="Calibri" panose="020F0502020204030204" pitchFamily="34" charset="0"/>
            </a:endParaRPr>
          </a:p>
        </p:txBody>
      </p:sp>
      <p:pic>
        <p:nvPicPr>
          <p:cNvPr id="12" name="Picture 11" descr="A picture containing diagram&#10;&#10;Description automatically generated"/>
          <p:cNvPicPr>
            <a:picLocks noChangeAspect="1"/>
          </p:cNvPicPr>
          <p:nvPr/>
        </p:nvPicPr>
        <p:blipFill>
          <a:blip r:embed="rId3"/>
          <a:stretch>
            <a:fillRect/>
          </a:stretch>
        </p:blipFill>
        <p:spPr>
          <a:xfrm>
            <a:off x="7596419" y="3795920"/>
            <a:ext cx="1357527" cy="1152160"/>
          </a:xfrm>
          <a:prstGeom prst="rect">
            <a:avLst/>
          </a:prstGeom>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82"/>
                                        </p:tgtEl>
                                        <p:attrNameLst>
                                          <p:attrName>style.visibility</p:attrName>
                                        </p:attrNameLst>
                                      </p:cBhvr>
                                      <p:to>
                                        <p:strVal val="visible"/>
                                      </p:to>
                                    </p:set>
                                    <p:animEffect transition="in" filter="fade">
                                      <p:cBhvr>
                                        <p:cTn id="7" dur="1000"/>
                                        <p:tgtEl>
                                          <p:spTgt spid="21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8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420" y="339725"/>
            <a:ext cx="7140443" cy="466725"/>
          </a:xfrm>
        </p:spPr>
        <p:txBody>
          <a:bodyPr/>
          <a:lstStyle/>
          <a:p>
            <a:r>
              <a:rPr lang="en-IN" sz="2300" b="1" dirty="0">
                <a:latin typeface="Calibri" panose="020F0502020204030204" pitchFamily="34" charset="0"/>
                <a:cs typeface="Calibri" panose="020F0502020204030204" pitchFamily="34" charset="0"/>
              </a:rPr>
              <a:t>CA Multi-Manager Portfolio</a:t>
            </a:r>
            <a:endParaRPr lang="en-IN" sz="2300" b="1" dirty="0">
              <a:latin typeface="Calibri" panose="020F0502020204030204" pitchFamily="34" charset="0"/>
              <a:cs typeface="Calibri" panose="020F0502020204030204" pitchFamily="34" charset="0"/>
            </a:endParaRPr>
          </a:p>
        </p:txBody>
      </p:sp>
      <p:graphicFrame>
        <p:nvGraphicFramePr>
          <p:cNvPr id="4" name="Table 3"/>
          <p:cNvGraphicFramePr>
            <a:graphicFrameLocks noGrp="1"/>
          </p:cNvGraphicFramePr>
          <p:nvPr/>
        </p:nvGraphicFramePr>
        <p:xfrm>
          <a:off x="400430" y="2859790"/>
          <a:ext cx="8486084" cy="1925659"/>
        </p:xfrm>
        <a:graphic>
          <a:graphicData uri="http://schemas.openxmlformats.org/drawingml/2006/table">
            <a:tbl>
              <a:tblPr/>
              <a:tblGrid>
                <a:gridCol w="2534435"/>
                <a:gridCol w="968211"/>
                <a:gridCol w="939734"/>
                <a:gridCol w="1338409"/>
                <a:gridCol w="1338409"/>
                <a:gridCol w="1366886"/>
              </a:tblGrid>
              <a:tr h="283186">
                <a:tc>
                  <a:txBody>
                    <a:bodyPr/>
                    <a:lstStyle/>
                    <a:p>
                      <a:pPr algn="ctr" rtl="0" fontAlgn="ctr"/>
                      <a:r>
                        <a:rPr lang="en-US" sz="950" b="1" i="1" u="sng" strike="noStrike" dirty="0">
                          <a:solidFill>
                            <a:srgbClr val="FFFFFF"/>
                          </a:solidFill>
                          <a:effectLst/>
                          <a:latin typeface="Calibri" panose="020F0502020204030204" pitchFamily="34" charset="0"/>
                        </a:rPr>
                        <a:t>Funds / ETFs</a:t>
                      </a:r>
                      <a:endParaRPr lang="en-US" sz="950" b="1" i="1" u="sng" strike="noStrike" dirty="0">
                        <a:solidFill>
                          <a:srgbClr val="FFFFFF"/>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3A390"/>
                    </a:solidFill>
                  </a:tcPr>
                </a:tc>
                <a:tc>
                  <a:txBody>
                    <a:bodyPr/>
                    <a:lstStyle/>
                    <a:p>
                      <a:pPr algn="ctr" rtl="0" fontAlgn="ctr"/>
                      <a:r>
                        <a:rPr lang="en-US" sz="950" b="1" i="1" u="sng" strike="noStrike">
                          <a:solidFill>
                            <a:srgbClr val="FFFFFF"/>
                          </a:solidFill>
                          <a:effectLst/>
                          <a:latin typeface="Calibri" panose="020F0502020204030204" pitchFamily="34" charset="0"/>
                        </a:rPr>
                        <a:t>Weights</a:t>
                      </a:r>
                      <a:endParaRPr lang="en-US" sz="950" b="1" i="1" u="sng" strike="noStrike">
                        <a:solidFill>
                          <a:srgbClr val="FFFFFF"/>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3A390"/>
                    </a:solidFill>
                  </a:tcPr>
                </a:tc>
                <a:tc>
                  <a:txBody>
                    <a:bodyPr/>
                    <a:lstStyle/>
                    <a:p>
                      <a:pPr algn="ctr" rtl="0" fontAlgn="ctr"/>
                      <a:r>
                        <a:rPr lang="en-US" sz="950" b="1" i="1" u="sng" strike="noStrike">
                          <a:solidFill>
                            <a:srgbClr val="FFFFFF"/>
                          </a:solidFill>
                          <a:effectLst/>
                          <a:latin typeface="Calibri" panose="020F0502020204030204" pitchFamily="34" charset="0"/>
                        </a:rPr>
                        <a:t>Category</a:t>
                      </a:r>
                      <a:endParaRPr lang="en-US" sz="950" b="1" i="1" u="sng" strike="noStrike">
                        <a:solidFill>
                          <a:srgbClr val="FFFFFF"/>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3A390"/>
                    </a:solidFill>
                  </a:tcPr>
                </a:tc>
                <a:tc>
                  <a:txBody>
                    <a:bodyPr/>
                    <a:lstStyle/>
                    <a:p>
                      <a:pPr algn="ctr" rtl="0" fontAlgn="ctr"/>
                      <a:r>
                        <a:rPr lang="en-US" sz="950" b="1" i="1" u="sng" strike="noStrike">
                          <a:solidFill>
                            <a:srgbClr val="FFFFFF"/>
                          </a:solidFill>
                          <a:effectLst/>
                          <a:latin typeface="Calibri" panose="020F0502020204030204" pitchFamily="34" charset="0"/>
                        </a:rPr>
                        <a:t>Investing Style</a:t>
                      </a:r>
                      <a:endParaRPr lang="en-US" sz="950" b="1" i="1" u="sng" strike="noStrike">
                        <a:solidFill>
                          <a:srgbClr val="FFFFFF"/>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3A390"/>
                    </a:solidFill>
                  </a:tcPr>
                </a:tc>
                <a:tc>
                  <a:txBody>
                    <a:bodyPr/>
                    <a:lstStyle/>
                    <a:p>
                      <a:pPr algn="ctr" rtl="0" fontAlgn="ctr"/>
                      <a:r>
                        <a:rPr lang="en-US" sz="950" b="1" i="1" u="sng" strike="noStrike" dirty="0">
                          <a:solidFill>
                            <a:srgbClr val="FFFFFF"/>
                          </a:solidFill>
                          <a:effectLst/>
                          <a:latin typeface="Calibri" panose="020F0502020204030204" pitchFamily="34" charset="0"/>
                        </a:rPr>
                        <a:t>Vehicle</a:t>
                      </a:r>
                      <a:endParaRPr lang="en-US" sz="950" b="1" i="1" u="sng" strike="noStrike" dirty="0">
                        <a:solidFill>
                          <a:srgbClr val="FFFFFF"/>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3A390"/>
                    </a:solidFill>
                  </a:tcPr>
                </a:tc>
                <a:tc>
                  <a:txBody>
                    <a:bodyPr/>
                    <a:lstStyle/>
                    <a:p>
                      <a:pPr algn="ctr" rtl="0" fontAlgn="ctr"/>
                      <a:r>
                        <a:rPr lang="en-US" sz="950" b="1" i="1" u="sng" strike="noStrike" dirty="0">
                          <a:solidFill>
                            <a:srgbClr val="FFFFFF"/>
                          </a:solidFill>
                          <a:effectLst/>
                          <a:latin typeface="Calibri" panose="020F0502020204030204" pitchFamily="34" charset="0"/>
                        </a:rPr>
                        <a:t>Direct (Expense Ratio)</a:t>
                      </a:r>
                      <a:endParaRPr lang="en-US" sz="950" b="1" i="1" u="sng" strike="noStrike" dirty="0">
                        <a:solidFill>
                          <a:srgbClr val="FFFFFF"/>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3A390"/>
                    </a:solidFill>
                  </a:tcPr>
                </a:tc>
              </a:tr>
              <a:tr h="234639">
                <a:tc>
                  <a:txBody>
                    <a:bodyPr/>
                    <a:lstStyle/>
                    <a:p>
                      <a:pPr algn="ctr" rtl="0" fontAlgn="ctr"/>
                      <a:r>
                        <a:rPr lang="en-GB" sz="920" b="0" i="0" u="none" strike="noStrike" dirty="0">
                          <a:solidFill>
                            <a:srgbClr val="000000"/>
                          </a:solidFill>
                          <a:effectLst/>
                          <a:latin typeface="Calibri" panose="020F0502020204030204" pitchFamily="34" charset="0"/>
                        </a:rPr>
                        <a:t>Canara Robeco Emerging Equities </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920" b="0" i="0" u="none" strike="noStrike" dirty="0">
                          <a:solidFill>
                            <a:srgbClr val="000000"/>
                          </a:solidFill>
                          <a:effectLst/>
                          <a:latin typeface="Calibri" panose="020F0502020204030204" pitchFamily="34" charset="0"/>
                        </a:rPr>
                        <a:t>20%</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920" b="0" i="0" u="none" strike="noStrike" dirty="0">
                          <a:solidFill>
                            <a:srgbClr val="000000"/>
                          </a:solidFill>
                          <a:effectLst/>
                          <a:latin typeface="Calibri" panose="020F0502020204030204" pitchFamily="34" charset="0"/>
                        </a:rPr>
                        <a:t>Large-Mid</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dirty="0">
                          <a:solidFill>
                            <a:srgbClr val="000000"/>
                          </a:solidFill>
                          <a:effectLst/>
                          <a:latin typeface="Calibri" panose="020F0502020204030204" pitchFamily="34" charset="0"/>
                        </a:rPr>
                        <a:t>GARP</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dirty="0">
                          <a:solidFill>
                            <a:srgbClr val="000000"/>
                          </a:solidFill>
                          <a:effectLst/>
                          <a:latin typeface="Calibri" panose="020F0502020204030204" pitchFamily="34" charset="0"/>
                        </a:rPr>
                        <a:t>Mutual fund</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a:solidFill>
                            <a:srgbClr val="000000"/>
                          </a:solidFill>
                          <a:effectLst/>
                          <a:latin typeface="Calibri" panose="020F0502020204030204" pitchFamily="34" charset="0"/>
                        </a:rPr>
                        <a:t>0.56%</a:t>
                      </a:r>
                      <a:endParaRPr lang="en-GB" sz="92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4639">
                <a:tc>
                  <a:txBody>
                    <a:bodyPr/>
                    <a:lstStyle/>
                    <a:p>
                      <a:pPr algn="ctr" rtl="0" fontAlgn="ctr"/>
                      <a:r>
                        <a:rPr lang="en-GB" sz="920" b="0" i="0" u="none" strike="noStrike" dirty="0">
                          <a:solidFill>
                            <a:srgbClr val="000000"/>
                          </a:solidFill>
                          <a:effectLst/>
                          <a:latin typeface="Calibri" panose="020F0502020204030204" pitchFamily="34" charset="0"/>
                        </a:rPr>
                        <a:t>Parag Parikh Flexi Cap</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920" b="0" i="0" u="none" strike="noStrike" dirty="0">
                          <a:solidFill>
                            <a:srgbClr val="000000"/>
                          </a:solidFill>
                          <a:effectLst/>
                          <a:latin typeface="Calibri" panose="020F0502020204030204" pitchFamily="34" charset="0"/>
                        </a:rPr>
                        <a:t>20%</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920" b="0" i="0" u="none" strike="noStrike" dirty="0">
                          <a:solidFill>
                            <a:srgbClr val="000000"/>
                          </a:solidFill>
                          <a:effectLst/>
                          <a:latin typeface="Calibri" panose="020F0502020204030204" pitchFamily="34" charset="0"/>
                        </a:rPr>
                        <a:t>Flexi-cap</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dirty="0">
                          <a:solidFill>
                            <a:srgbClr val="000000"/>
                          </a:solidFill>
                          <a:effectLst/>
                          <a:latin typeface="Calibri" panose="020F0502020204030204" pitchFamily="34" charset="0"/>
                        </a:rPr>
                        <a:t>GARP</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a:solidFill>
                            <a:srgbClr val="000000"/>
                          </a:solidFill>
                          <a:effectLst/>
                          <a:latin typeface="Calibri" panose="020F0502020204030204" pitchFamily="34" charset="0"/>
                        </a:rPr>
                        <a:t>Mutual fund</a:t>
                      </a:r>
                      <a:endParaRPr lang="en-GB" sz="92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a:solidFill>
                            <a:srgbClr val="000000"/>
                          </a:solidFill>
                          <a:effectLst/>
                          <a:latin typeface="Calibri" panose="020F0502020204030204" pitchFamily="34" charset="0"/>
                        </a:rPr>
                        <a:t>0.63%</a:t>
                      </a:r>
                      <a:endParaRPr lang="en-GB" sz="92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4639">
                <a:tc>
                  <a:txBody>
                    <a:bodyPr/>
                    <a:lstStyle/>
                    <a:p>
                      <a:pPr algn="ctr" rtl="0" fontAlgn="ctr"/>
                      <a:r>
                        <a:rPr lang="en-US" sz="920" b="0" i="0" u="none" strike="noStrike" dirty="0">
                          <a:solidFill>
                            <a:srgbClr val="000000"/>
                          </a:solidFill>
                          <a:effectLst/>
                          <a:latin typeface="Calibri" panose="020F0502020204030204" pitchFamily="34" charset="0"/>
                        </a:rPr>
                        <a:t>White Oak Flexi Cap Fund</a:t>
                      </a:r>
                      <a:endParaRPr lang="en-US"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920" b="0" i="0" u="none" strike="noStrike" dirty="0">
                          <a:solidFill>
                            <a:srgbClr val="000000"/>
                          </a:solidFill>
                          <a:effectLst/>
                          <a:latin typeface="Calibri" panose="020F0502020204030204" pitchFamily="34" charset="0"/>
                        </a:rPr>
                        <a:t>20%</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920" b="0" i="0" u="none" strike="noStrike" dirty="0">
                          <a:solidFill>
                            <a:srgbClr val="000000"/>
                          </a:solidFill>
                          <a:effectLst/>
                          <a:latin typeface="Calibri" panose="020F0502020204030204" pitchFamily="34" charset="0"/>
                        </a:rPr>
                        <a:t>Flexi-cap</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dirty="0">
                          <a:solidFill>
                            <a:srgbClr val="000000"/>
                          </a:solidFill>
                          <a:effectLst/>
                          <a:latin typeface="Calibri" panose="020F0502020204030204" pitchFamily="34" charset="0"/>
                        </a:rPr>
                        <a:t>Growth</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dirty="0">
                          <a:solidFill>
                            <a:srgbClr val="000000"/>
                          </a:solidFill>
                          <a:effectLst/>
                          <a:latin typeface="Calibri" panose="020F0502020204030204" pitchFamily="34" charset="0"/>
                        </a:rPr>
                        <a:t>Mutual fund</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a:solidFill>
                            <a:srgbClr val="000000"/>
                          </a:solidFill>
                          <a:effectLst/>
                          <a:latin typeface="Calibri" panose="020F0502020204030204" pitchFamily="34" charset="0"/>
                        </a:rPr>
                        <a:t>0.46%</a:t>
                      </a:r>
                      <a:endParaRPr lang="en-GB" sz="92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4639">
                <a:tc>
                  <a:txBody>
                    <a:bodyPr/>
                    <a:lstStyle/>
                    <a:p>
                      <a:pPr algn="ctr" rtl="0" fontAlgn="ctr"/>
                      <a:r>
                        <a:rPr lang="en-GB" sz="920" b="0" i="0" u="none" strike="noStrike" dirty="0">
                          <a:solidFill>
                            <a:srgbClr val="000000"/>
                          </a:solidFill>
                          <a:effectLst/>
                          <a:latin typeface="Calibri" panose="020F0502020204030204" pitchFamily="34" charset="0"/>
                        </a:rPr>
                        <a:t>Nippon India Large Cap Fund</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920" b="0" i="0" u="none" strike="noStrike" dirty="0">
                          <a:solidFill>
                            <a:srgbClr val="000000"/>
                          </a:solidFill>
                          <a:effectLst/>
                          <a:latin typeface="Calibri" panose="020F0502020204030204" pitchFamily="34" charset="0"/>
                        </a:rPr>
                        <a:t>10%</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920" b="0" i="0" u="none" strike="noStrike" dirty="0">
                          <a:solidFill>
                            <a:srgbClr val="000000"/>
                          </a:solidFill>
                          <a:effectLst/>
                          <a:latin typeface="Calibri" panose="020F0502020204030204" pitchFamily="34" charset="0"/>
                        </a:rPr>
                        <a:t>Large-cap</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dirty="0">
                          <a:solidFill>
                            <a:srgbClr val="000000"/>
                          </a:solidFill>
                          <a:effectLst/>
                          <a:latin typeface="Calibri" panose="020F0502020204030204" pitchFamily="34" charset="0"/>
                        </a:rPr>
                        <a:t>GARP</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a:solidFill>
                            <a:srgbClr val="000000"/>
                          </a:solidFill>
                          <a:effectLst/>
                          <a:latin typeface="Calibri" panose="020F0502020204030204" pitchFamily="34" charset="0"/>
                        </a:rPr>
                        <a:t>Mutual fund</a:t>
                      </a:r>
                      <a:endParaRPr lang="en-GB" sz="92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a:solidFill>
                            <a:srgbClr val="000000"/>
                          </a:solidFill>
                          <a:effectLst/>
                          <a:latin typeface="Calibri" panose="020F0502020204030204" pitchFamily="34" charset="0"/>
                        </a:rPr>
                        <a:t>0.67%</a:t>
                      </a:r>
                      <a:endParaRPr lang="en-GB" sz="92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4639">
                <a:tc>
                  <a:txBody>
                    <a:bodyPr/>
                    <a:lstStyle/>
                    <a:p>
                      <a:pPr algn="ctr" rtl="0" fontAlgn="ctr"/>
                      <a:r>
                        <a:rPr lang="en-GB" sz="920" b="0" i="0" u="none" strike="noStrike" dirty="0">
                          <a:solidFill>
                            <a:srgbClr val="000000"/>
                          </a:solidFill>
                          <a:effectLst/>
                          <a:latin typeface="Calibri" panose="020F0502020204030204" pitchFamily="34" charset="0"/>
                        </a:rPr>
                        <a:t>SBI Sensex ETF</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920" b="0" i="0" u="none" strike="noStrike" dirty="0">
                          <a:solidFill>
                            <a:srgbClr val="000000"/>
                          </a:solidFill>
                          <a:effectLst/>
                          <a:latin typeface="Calibri" panose="020F0502020204030204" pitchFamily="34" charset="0"/>
                        </a:rPr>
                        <a:t>20%</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920" b="0" i="0" u="none" strike="noStrike" dirty="0">
                          <a:solidFill>
                            <a:srgbClr val="000000"/>
                          </a:solidFill>
                          <a:effectLst/>
                          <a:latin typeface="Calibri" panose="020F0502020204030204" pitchFamily="34" charset="0"/>
                        </a:rPr>
                        <a:t>Large-cap</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dirty="0">
                          <a:solidFill>
                            <a:srgbClr val="000000"/>
                          </a:solidFill>
                          <a:effectLst/>
                          <a:latin typeface="Calibri" panose="020F0502020204030204" pitchFamily="34" charset="0"/>
                        </a:rPr>
                        <a:t>Passive</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dirty="0">
                          <a:solidFill>
                            <a:srgbClr val="000000"/>
                          </a:solidFill>
                          <a:effectLst/>
                          <a:latin typeface="Calibri" panose="020F0502020204030204" pitchFamily="34" charset="0"/>
                        </a:rPr>
                        <a:t>ETF</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a:solidFill>
                            <a:srgbClr val="000000"/>
                          </a:solidFill>
                          <a:effectLst/>
                          <a:latin typeface="Calibri" panose="020F0502020204030204" pitchFamily="34" charset="0"/>
                        </a:rPr>
                        <a:t>0.04%</a:t>
                      </a:r>
                      <a:endParaRPr lang="en-GB" sz="92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4639">
                <a:tc>
                  <a:txBody>
                    <a:bodyPr/>
                    <a:lstStyle/>
                    <a:p>
                      <a:pPr algn="ctr" rtl="0" fontAlgn="ctr"/>
                      <a:r>
                        <a:rPr lang="en-US" sz="920" b="0" i="0" u="none" strike="noStrike" dirty="0">
                          <a:solidFill>
                            <a:srgbClr val="000000"/>
                          </a:solidFill>
                          <a:effectLst/>
                          <a:latin typeface="Calibri" panose="020F0502020204030204" pitchFamily="34" charset="0"/>
                        </a:rPr>
                        <a:t>Nippon India Nifty </a:t>
                      </a:r>
                      <a:r>
                        <a:rPr lang="en-US" sz="920" b="0" i="0" u="none" strike="noStrike" dirty="0" err="1">
                          <a:solidFill>
                            <a:srgbClr val="000000"/>
                          </a:solidFill>
                          <a:effectLst/>
                          <a:latin typeface="Calibri" panose="020F0502020204030204" pitchFamily="34" charset="0"/>
                        </a:rPr>
                        <a:t>BeES</a:t>
                      </a:r>
                      <a:r>
                        <a:rPr lang="en-US" sz="920" b="0" i="0" u="none" strike="noStrike" dirty="0">
                          <a:solidFill>
                            <a:srgbClr val="000000"/>
                          </a:solidFill>
                          <a:effectLst/>
                          <a:latin typeface="Calibri" panose="020F0502020204030204" pitchFamily="34" charset="0"/>
                        </a:rPr>
                        <a:t> ETF</a:t>
                      </a:r>
                      <a:endParaRPr lang="en-US"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920" b="0" i="0" u="none" strike="noStrike" dirty="0">
                          <a:solidFill>
                            <a:srgbClr val="000000"/>
                          </a:solidFill>
                          <a:effectLst/>
                          <a:latin typeface="Calibri" panose="020F0502020204030204" pitchFamily="34" charset="0"/>
                        </a:rPr>
                        <a:t>10%</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920" b="0" i="0" u="none" strike="noStrike" dirty="0">
                          <a:solidFill>
                            <a:srgbClr val="000000"/>
                          </a:solidFill>
                          <a:effectLst/>
                          <a:latin typeface="Calibri" panose="020F0502020204030204" pitchFamily="34" charset="0"/>
                        </a:rPr>
                        <a:t>Large-cap</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dirty="0">
                          <a:solidFill>
                            <a:srgbClr val="000000"/>
                          </a:solidFill>
                          <a:effectLst/>
                          <a:latin typeface="Calibri" panose="020F0502020204030204" pitchFamily="34" charset="0"/>
                        </a:rPr>
                        <a:t>Passive</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dirty="0">
                          <a:solidFill>
                            <a:srgbClr val="000000"/>
                          </a:solidFill>
                          <a:effectLst/>
                          <a:latin typeface="Calibri" panose="020F0502020204030204" pitchFamily="34" charset="0"/>
                        </a:rPr>
                        <a:t>ETF</a:t>
                      </a:r>
                      <a:endParaRPr lang="en-GB" sz="92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GB" sz="920" b="0" i="0" u="none" strike="noStrike">
                          <a:solidFill>
                            <a:srgbClr val="000000"/>
                          </a:solidFill>
                          <a:effectLst/>
                          <a:latin typeface="Calibri" panose="020F0502020204030204" pitchFamily="34" charset="0"/>
                        </a:rPr>
                        <a:t>0.04%</a:t>
                      </a:r>
                      <a:endParaRPr lang="en-GB" sz="92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4639">
                <a:tc>
                  <a:txBody>
                    <a:bodyPr/>
                    <a:lstStyle/>
                    <a:p>
                      <a:pPr algn="ctr" rtl="0" fontAlgn="ctr"/>
                      <a:r>
                        <a:rPr lang="en-US" sz="950" b="0" i="0" u="none" strike="noStrike" dirty="0">
                          <a:solidFill>
                            <a:srgbClr val="000000"/>
                          </a:solidFill>
                          <a:effectLst/>
                          <a:latin typeface="Calibri" panose="020F0502020204030204" pitchFamily="34" charset="0"/>
                        </a:rPr>
                        <a:t> </a:t>
                      </a:r>
                      <a:endParaRPr lang="en-US" sz="9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50" b="1" i="0" u="none" strike="noStrike" dirty="0">
                          <a:solidFill>
                            <a:srgbClr val="000000"/>
                          </a:solidFill>
                          <a:effectLst/>
                          <a:latin typeface="Calibri" panose="020F0502020204030204" pitchFamily="34" charset="0"/>
                        </a:rPr>
                        <a:t>100.00%</a:t>
                      </a:r>
                      <a:endParaRPr lang="en-US" sz="95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50" b="1" i="0" u="none" strike="noStrike" dirty="0">
                          <a:solidFill>
                            <a:srgbClr val="000000"/>
                          </a:solidFill>
                          <a:effectLst/>
                          <a:latin typeface="Calibri" panose="020F0502020204030204" pitchFamily="34" charset="0"/>
                        </a:rPr>
                        <a:t> </a:t>
                      </a:r>
                      <a:endParaRPr lang="en-US" sz="95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50" b="1" i="0" u="none" strike="noStrike" dirty="0">
                          <a:solidFill>
                            <a:srgbClr val="000000"/>
                          </a:solidFill>
                          <a:effectLst/>
                          <a:latin typeface="Calibri" panose="020F0502020204030204" pitchFamily="34" charset="0"/>
                        </a:rPr>
                        <a:t> </a:t>
                      </a:r>
                      <a:endParaRPr lang="en-US" sz="95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50" b="1" i="0" u="none" strike="noStrike" dirty="0">
                          <a:solidFill>
                            <a:srgbClr val="000000"/>
                          </a:solidFill>
                          <a:effectLst/>
                          <a:latin typeface="Calibri" panose="020F0502020204030204" pitchFamily="34" charset="0"/>
                        </a:rPr>
                        <a:t> </a:t>
                      </a:r>
                      <a:endParaRPr lang="en-US" sz="95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920" b="1" i="1" u="none" strike="noStrike" dirty="0">
                          <a:solidFill>
                            <a:srgbClr val="000000"/>
                          </a:solidFill>
                          <a:effectLst/>
                          <a:latin typeface="Calibri" panose="020F0502020204030204" pitchFamily="34" charset="0"/>
                        </a:rPr>
                        <a:t>0.41%</a:t>
                      </a:r>
                      <a:endParaRPr lang="en-GB" sz="920" b="1" i="1"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9" name="Chart 8"/>
          <p:cNvGraphicFramePr/>
          <p:nvPr/>
        </p:nvGraphicFramePr>
        <p:xfrm>
          <a:off x="395420" y="843510"/>
          <a:ext cx="8486084" cy="1872260"/>
        </p:xfrm>
        <a:graphic>
          <a:graphicData uri="http://schemas.openxmlformats.org/drawingml/2006/chart">
            <c:chart xmlns:c="http://schemas.openxmlformats.org/drawingml/2006/chart" xmlns:r="http://schemas.openxmlformats.org/officeDocument/2006/relationships" r:id="rId1"/>
          </a:graphicData>
        </a:graphic>
      </p:graphicFrame>
    </p:spTree>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300" dirty="0">
                <a:latin typeface="Calibri" panose="020F0502020204030204" pitchFamily="34" charset="0"/>
                <a:cs typeface="Calibri" panose="020F0502020204030204" pitchFamily="34" charset="0"/>
              </a:rPr>
              <a:t> CA Multi-Manager Portfolio: Key Highlights</a:t>
            </a:r>
            <a:endParaRPr lang="en-IN" sz="2300" dirty="0">
              <a:latin typeface="Calibri" panose="020F0502020204030204" pitchFamily="34" charset="0"/>
              <a:cs typeface="Calibri" panose="020F0502020204030204" pitchFamily="34" charset="0"/>
            </a:endParaRPr>
          </a:p>
        </p:txBody>
      </p:sp>
      <p:graphicFrame>
        <p:nvGraphicFramePr>
          <p:cNvPr id="7" name="Diagram 6"/>
          <p:cNvGraphicFramePr/>
          <p:nvPr/>
        </p:nvGraphicFramePr>
        <p:xfrm>
          <a:off x="720725" y="906319"/>
          <a:ext cx="7667806" cy="1377391"/>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graphicFrame>
        <p:nvGraphicFramePr>
          <p:cNvPr id="12" name="Table 11"/>
          <p:cNvGraphicFramePr>
            <a:graphicFrameLocks noGrp="1"/>
          </p:cNvGraphicFramePr>
          <p:nvPr/>
        </p:nvGraphicFramePr>
        <p:xfrm>
          <a:off x="720725" y="2439698"/>
          <a:ext cx="7667805" cy="2489159"/>
        </p:xfrm>
        <a:graphic>
          <a:graphicData uri="http://schemas.openxmlformats.org/drawingml/2006/table">
            <a:tbl>
              <a:tblPr/>
              <a:tblGrid>
                <a:gridCol w="2100768"/>
                <a:gridCol w="1725632"/>
                <a:gridCol w="975357"/>
                <a:gridCol w="255093"/>
                <a:gridCol w="1635598"/>
                <a:gridCol w="975357"/>
              </a:tblGrid>
              <a:tr h="209484">
                <a:tc>
                  <a:txBody>
                    <a:bodyPr/>
                    <a:lstStyle/>
                    <a:p>
                      <a:pPr algn="ctr" fontAlgn="ctr"/>
                      <a:r>
                        <a:rPr lang="en-IN" sz="1000" b="1" i="0" u="none" strike="noStrike" dirty="0">
                          <a:solidFill>
                            <a:srgbClr val="000000"/>
                          </a:solidFill>
                          <a:effectLst/>
                          <a:latin typeface="Calibri" panose="020F0502020204030204" pitchFamily="34" charset="0"/>
                        </a:rPr>
                        <a:t>Top 5 Holdings</a:t>
                      </a:r>
                      <a:endParaRPr lang="en-IN" sz="1000" b="1"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2F2F2"/>
                    </a:solidFill>
                  </a:tcPr>
                </a:tc>
                <a:tc>
                  <a:txBody>
                    <a:bodyPr/>
                    <a:lstStyle/>
                    <a:p>
                      <a:pPr algn="ctr" fontAlgn="ctr"/>
                      <a:r>
                        <a:rPr lang="en-IN" sz="1000" b="1" i="0" u="none" strike="noStrike" dirty="0">
                          <a:solidFill>
                            <a:srgbClr val="000000"/>
                          </a:solidFill>
                          <a:effectLst/>
                          <a:latin typeface="Calibri" panose="020F0502020204030204" pitchFamily="34" charset="0"/>
                        </a:rPr>
                        <a:t>Sector</a:t>
                      </a:r>
                      <a:endParaRPr lang="en-IN" sz="1000" b="1"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2F2F2"/>
                    </a:solidFill>
                  </a:tcPr>
                </a:tc>
                <a:tc>
                  <a:txBody>
                    <a:bodyPr/>
                    <a:lstStyle/>
                    <a:p>
                      <a:pPr algn="ctr" fontAlgn="ctr"/>
                      <a:r>
                        <a:rPr lang="en-IN" sz="1000" b="1" i="0" u="none" strike="noStrike" dirty="0">
                          <a:solidFill>
                            <a:srgbClr val="000000"/>
                          </a:solidFill>
                          <a:effectLst/>
                          <a:latin typeface="Calibri" panose="020F0502020204030204" pitchFamily="34" charset="0"/>
                        </a:rPr>
                        <a:t>Weightage (%)</a:t>
                      </a:r>
                      <a:endParaRPr lang="en-IN" sz="1000" b="1"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2F2F2"/>
                    </a:solidFill>
                  </a:tcPr>
                </a:tc>
                <a:tc>
                  <a:txBody>
                    <a:bodyPr/>
                    <a:lstStyle/>
                    <a:p>
                      <a:pPr algn="ctr" fontAlgn="ctr"/>
                      <a:endParaRPr lang="en-IN"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r>
                        <a:rPr lang="en-IN" sz="1000" b="1" i="0" u="none" strike="noStrike">
                          <a:solidFill>
                            <a:srgbClr val="000000"/>
                          </a:solidFill>
                          <a:effectLst/>
                          <a:latin typeface="Calibri" panose="020F0502020204030204" pitchFamily="34" charset="0"/>
                        </a:rPr>
                        <a:t>Top 5 Sectors</a:t>
                      </a:r>
                      <a:endParaRPr lang="en-IN" sz="1000" b="1"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2F2F2"/>
                    </a:solidFill>
                  </a:tcPr>
                </a:tc>
                <a:tc>
                  <a:txBody>
                    <a:bodyPr/>
                    <a:lstStyle/>
                    <a:p>
                      <a:pPr algn="ctr" fontAlgn="ctr"/>
                      <a:r>
                        <a:rPr lang="en-IN" sz="1000" b="1" i="0" u="none" strike="noStrike">
                          <a:solidFill>
                            <a:srgbClr val="000000"/>
                          </a:solidFill>
                          <a:effectLst/>
                          <a:latin typeface="Calibri" panose="020F0502020204030204" pitchFamily="34" charset="0"/>
                        </a:rPr>
                        <a:t>Weightage (%)</a:t>
                      </a:r>
                      <a:endParaRPr lang="en-IN" sz="1000" b="1"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2F2F2"/>
                    </a:solidFill>
                  </a:tcPr>
                </a:tc>
              </a:tr>
              <a:tr h="209484">
                <a:tc>
                  <a:txBody>
                    <a:bodyPr/>
                    <a:lstStyle/>
                    <a:p>
                      <a:pPr marL="0" marR="0" lvl="0" indent="0" algn="ctr" defTabSz="914400" rtl="0" eaLnBrk="1" fontAlgn="ctr" latinLnBrk="1" hangingPunct="1">
                        <a:lnSpc>
                          <a:spcPct val="100000"/>
                        </a:lnSpc>
                        <a:spcBef>
                          <a:spcPts val="0"/>
                        </a:spcBef>
                        <a:spcAft>
                          <a:spcPts val="0"/>
                        </a:spcAft>
                        <a:buClrTx/>
                        <a:buSzTx/>
                        <a:buFontTx/>
                        <a:buNone/>
                        <a:defRPr/>
                      </a:pPr>
                      <a:r>
                        <a:rPr lang="en-IN" sz="900" b="0" i="0" u="none" strike="noStrike" dirty="0">
                          <a:solidFill>
                            <a:srgbClr val="000000"/>
                          </a:solidFill>
                          <a:effectLst/>
                          <a:latin typeface="Calibri" panose="020F0502020204030204" pitchFamily="34" charset="0"/>
                        </a:rPr>
                        <a:t>Canara Robeco Emerging Equities</a:t>
                      </a:r>
                      <a:endParaRPr lang="en-IN" sz="900" b="0" i="0" u="none" strike="noStrike" dirty="0">
                        <a:solidFill>
                          <a:srgbClr val="000000"/>
                        </a:solidFill>
                        <a:effectLst/>
                        <a:latin typeface="Calibri" panose="020F0502020204030204" pitchFamily="34" charset="0"/>
                      </a:endParaRPr>
                    </a:p>
                  </a:txBody>
                  <a:tcPr marL="5175" marR="5175" marT="5175" marB="0" anchor="ctr">
                    <a:lnL>
                      <a:noFill/>
                    </a:lnL>
                    <a:lnR>
                      <a:noFill/>
                    </a:lnR>
                    <a:lnT>
                      <a:noFill/>
                    </a:lnT>
                    <a:lnB>
                      <a:noFill/>
                    </a:lnB>
                    <a:solidFill>
                      <a:srgbClr val="FFFFFF"/>
                    </a:solidFill>
                  </a:tcPr>
                </a:tc>
                <a:tc>
                  <a:txBody>
                    <a:bodyPr/>
                    <a:lstStyle/>
                    <a:p>
                      <a:pPr algn="ctr" fontAlgn="b"/>
                      <a:r>
                        <a:rPr lang="en-IN" sz="1000" b="0" i="0" u="none" strike="noStrike" dirty="0">
                          <a:solidFill>
                            <a:srgbClr val="000000"/>
                          </a:solidFill>
                          <a:effectLst/>
                          <a:latin typeface="Calibri" panose="020F0502020204030204" pitchFamily="34" charset="0"/>
                        </a:rPr>
                        <a:t>Diversified </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FFFFF"/>
                    </a:solidFill>
                  </a:tcPr>
                </a:tc>
                <a:tc>
                  <a:txBody>
                    <a:bodyPr/>
                    <a:lstStyle/>
                    <a:p>
                      <a:pPr marL="0" marR="0" lvl="0" indent="0" algn="ctr" defTabSz="914400" rtl="0" eaLnBrk="1" fontAlgn="b" latinLnBrk="1" hangingPunct="1">
                        <a:lnSpc>
                          <a:spcPct val="100000"/>
                        </a:lnSpc>
                        <a:spcBef>
                          <a:spcPts val="0"/>
                        </a:spcBef>
                        <a:spcAft>
                          <a:spcPts val="0"/>
                        </a:spcAft>
                        <a:buClrTx/>
                        <a:buSzTx/>
                        <a:buFontTx/>
                        <a:buNone/>
                        <a:defRPr/>
                      </a:pPr>
                      <a:r>
                        <a:rPr kumimoji="0" lang="en-IN" sz="1000" b="0" i="0" u="none" strike="noStrike" kern="1200" cap="none" spc="0" normalizeH="0" baseline="0" noProof="0" dirty="0">
                          <a:ln>
                            <a:noFill/>
                          </a:ln>
                          <a:solidFill>
                            <a:srgbClr val="000000"/>
                          </a:solidFill>
                          <a:effectLst/>
                          <a:uLnTx/>
                          <a:uFillTx/>
                          <a:latin typeface="Calibri" panose="020F0502020204030204" pitchFamily="34" charset="0"/>
                          <a:ea typeface="Roboto Condensed Light"/>
                          <a:cs typeface="+mn-cs"/>
                        </a:rPr>
                        <a:t>20.0%</a:t>
                      </a:r>
                      <a:endParaRPr kumimoji="0" lang="en-IN" sz="1000" b="0" i="0" u="none" strike="noStrike" kern="1200" cap="none" spc="0" normalizeH="0" baseline="0" noProof="0" dirty="0">
                        <a:ln>
                          <a:noFill/>
                        </a:ln>
                        <a:solidFill>
                          <a:srgbClr val="000000"/>
                        </a:solidFill>
                        <a:effectLst/>
                        <a:uLnTx/>
                        <a:uFillTx/>
                        <a:latin typeface="Calibri" panose="020F0502020204030204" pitchFamily="34" charset="0"/>
                        <a:ea typeface="Roboto Condensed Light"/>
                        <a:cs typeface="+mn-cs"/>
                      </a:endParaRPr>
                    </a:p>
                  </a:txBody>
                  <a:tcPr marL="9525" marR="9525" marT="9525" marB="0" anchor="ctr">
                    <a:lnL>
                      <a:noFill/>
                    </a:lnL>
                    <a:lnR>
                      <a:noFill/>
                    </a:lnR>
                    <a:lnT>
                      <a:noFill/>
                    </a:lnT>
                    <a:lnB>
                      <a:noFill/>
                    </a:lnB>
                    <a:solidFill>
                      <a:srgbClr val="FFFFFF"/>
                    </a:solidFill>
                  </a:tcPr>
                </a:tc>
                <a:tc>
                  <a:txBody>
                    <a:bodyPr/>
                    <a:lstStyle/>
                    <a:p>
                      <a:pPr algn="ctr" fontAlgn="b"/>
                      <a:endParaRPr lang="en-IN"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rtl="0" fontAlgn="ctr"/>
                      <a:r>
                        <a:rPr lang="en-GB" sz="1000" b="0" i="0" u="none" strike="noStrike">
                          <a:solidFill>
                            <a:srgbClr val="000000"/>
                          </a:solidFill>
                          <a:effectLst/>
                          <a:latin typeface="Calibri" panose="020F0502020204030204" pitchFamily="34" charset="0"/>
                        </a:rPr>
                        <a:t>Financials</a:t>
                      </a:r>
                      <a:endParaRPr lang="en-GB" sz="10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1000" b="0" i="0" u="none" strike="noStrike">
                          <a:solidFill>
                            <a:srgbClr val="000000"/>
                          </a:solidFill>
                          <a:effectLst/>
                          <a:latin typeface="Calibri" panose="020F0502020204030204" pitchFamily="34" charset="0"/>
                        </a:rPr>
                        <a:t>31.6%</a:t>
                      </a:r>
                      <a:endParaRPr lang="en-GB" sz="10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17154">
                <a:tc>
                  <a:txBody>
                    <a:bodyPr/>
                    <a:lstStyle/>
                    <a:p>
                      <a:pPr algn="ctr" fontAlgn="ctr"/>
                      <a:r>
                        <a:rPr lang="en-IN" sz="900" b="0" i="0" u="none" strike="noStrike" dirty="0">
                          <a:solidFill>
                            <a:srgbClr val="000000"/>
                          </a:solidFill>
                          <a:effectLst/>
                          <a:latin typeface="Calibri" panose="020F0502020204030204" pitchFamily="34" charset="0"/>
                        </a:rPr>
                        <a:t>Parag Parikh Flexi Cap</a:t>
                      </a:r>
                      <a:endParaRPr lang="en-IN" sz="900" b="0" i="0" u="none" strike="noStrike" dirty="0">
                        <a:solidFill>
                          <a:srgbClr val="000000"/>
                        </a:solidFill>
                        <a:effectLst/>
                        <a:latin typeface="Calibri" panose="020F0502020204030204" pitchFamily="34" charset="0"/>
                      </a:endParaRPr>
                    </a:p>
                  </a:txBody>
                  <a:tcPr marL="5175" marR="5175" marT="5175" marB="0" anchor="ctr">
                    <a:lnL>
                      <a:noFill/>
                    </a:lnL>
                    <a:lnR>
                      <a:noFill/>
                    </a:lnR>
                    <a:lnT>
                      <a:noFill/>
                    </a:lnT>
                    <a:lnB>
                      <a:noFill/>
                    </a:lnB>
                    <a:solidFill>
                      <a:srgbClr val="F2F2F2"/>
                    </a:solidFill>
                  </a:tcPr>
                </a:tc>
                <a:tc>
                  <a:txBody>
                    <a:bodyPr/>
                    <a:lstStyle/>
                    <a:p>
                      <a:pPr algn="ctr" fontAlgn="b"/>
                      <a:r>
                        <a:rPr lang="en-IN" sz="1000" b="0" i="0" u="none" strike="noStrike" dirty="0">
                          <a:solidFill>
                            <a:srgbClr val="000000"/>
                          </a:solidFill>
                          <a:effectLst/>
                          <a:latin typeface="Calibri" panose="020F0502020204030204" pitchFamily="34" charset="0"/>
                        </a:rPr>
                        <a:t>Diversified </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2F2F2"/>
                    </a:solidFill>
                  </a:tcPr>
                </a:tc>
                <a:tc>
                  <a:txBody>
                    <a:bodyPr/>
                    <a:lstStyle/>
                    <a:p>
                      <a:pPr marL="0" marR="0" lvl="0" indent="0" algn="ctr" defTabSz="914400" rtl="0" eaLnBrk="1" fontAlgn="b" latinLnBrk="1" hangingPunct="1">
                        <a:lnSpc>
                          <a:spcPct val="100000"/>
                        </a:lnSpc>
                        <a:spcBef>
                          <a:spcPts val="0"/>
                        </a:spcBef>
                        <a:spcAft>
                          <a:spcPts val="0"/>
                        </a:spcAft>
                        <a:buClrTx/>
                        <a:buSzTx/>
                        <a:buFontTx/>
                        <a:buNone/>
                        <a:defRPr/>
                      </a:pPr>
                      <a:r>
                        <a:rPr kumimoji="0" lang="en-IN" sz="1000" b="0" i="0" u="none" strike="noStrike" kern="1200" cap="none" spc="0" normalizeH="0" baseline="0" noProof="0" dirty="0">
                          <a:ln>
                            <a:noFill/>
                          </a:ln>
                          <a:solidFill>
                            <a:srgbClr val="000000"/>
                          </a:solidFill>
                          <a:effectLst/>
                          <a:uLnTx/>
                          <a:uFillTx/>
                          <a:latin typeface="Calibri" panose="020F0502020204030204" pitchFamily="34" charset="0"/>
                          <a:ea typeface="Roboto Condensed Light"/>
                          <a:cs typeface="+mn-cs"/>
                        </a:rPr>
                        <a:t>20.0%</a:t>
                      </a:r>
                      <a:endParaRPr kumimoji="0" lang="en-IN" sz="1000" b="0" i="0" u="none" strike="noStrike" kern="1200" cap="none" spc="0" normalizeH="0" baseline="0" noProof="0" dirty="0">
                        <a:ln>
                          <a:noFill/>
                        </a:ln>
                        <a:solidFill>
                          <a:srgbClr val="000000"/>
                        </a:solidFill>
                        <a:effectLst/>
                        <a:uLnTx/>
                        <a:uFillTx/>
                        <a:latin typeface="Calibri" panose="020F0502020204030204" pitchFamily="34" charset="0"/>
                        <a:ea typeface="Roboto Condensed Light"/>
                        <a:cs typeface="+mn-cs"/>
                      </a:endParaRPr>
                    </a:p>
                  </a:txBody>
                  <a:tcPr marL="9525" marR="9525" marT="9525" marB="0" anchor="ctr">
                    <a:lnL>
                      <a:noFill/>
                    </a:lnL>
                    <a:lnR>
                      <a:noFill/>
                    </a:lnR>
                    <a:lnT>
                      <a:noFill/>
                    </a:lnT>
                    <a:lnB>
                      <a:noFill/>
                    </a:lnB>
                    <a:solidFill>
                      <a:srgbClr val="F2F2F2"/>
                    </a:solidFill>
                  </a:tcPr>
                </a:tc>
                <a:tc>
                  <a:txBody>
                    <a:bodyPr/>
                    <a:lstStyle/>
                    <a:p>
                      <a:pPr algn="ctr" fontAlgn="b"/>
                      <a:endParaRPr lang="en-IN"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rtl="0" fontAlgn="ctr"/>
                      <a:r>
                        <a:rPr lang="en-GB" sz="1000" b="0" i="0" u="none" strike="noStrike">
                          <a:solidFill>
                            <a:srgbClr val="000000"/>
                          </a:solidFill>
                          <a:effectLst/>
                          <a:latin typeface="Calibri" panose="020F0502020204030204" pitchFamily="34" charset="0"/>
                        </a:rPr>
                        <a:t>Information Technology</a:t>
                      </a:r>
                      <a:endParaRPr lang="en-GB" sz="10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a:txBody>
                    <a:bodyPr/>
                    <a:lstStyle/>
                    <a:p>
                      <a:pPr algn="ctr" rtl="0" fontAlgn="ctr"/>
                      <a:r>
                        <a:rPr lang="en-GB" sz="1000" b="0" i="0" u="none" strike="noStrike">
                          <a:solidFill>
                            <a:srgbClr val="000000"/>
                          </a:solidFill>
                          <a:effectLst/>
                          <a:latin typeface="Calibri" panose="020F0502020204030204" pitchFamily="34" charset="0"/>
                        </a:rPr>
                        <a:t>15.3%</a:t>
                      </a:r>
                      <a:endParaRPr lang="en-GB" sz="10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r>
              <a:tr h="209484">
                <a:tc>
                  <a:txBody>
                    <a:bodyPr/>
                    <a:lstStyle/>
                    <a:p>
                      <a:pPr algn="ctr" fontAlgn="ctr"/>
                      <a:r>
                        <a:rPr lang="en-IN" sz="900" b="0" i="0" u="none" strike="noStrike" dirty="0">
                          <a:solidFill>
                            <a:srgbClr val="000000"/>
                          </a:solidFill>
                          <a:effectLst/>
                          <a:latin typeface="Calibri" panose="020F0502020204030204" pitchFamily="34" charset="0"/>
                        </a:rPr>
                        <a:t>White Oak Flexi Cap Fund </a:t>
                      </a:r>
                      <a:endParaRPr lang="en-IN" sz="900" b="0" i="0" u="none" strike="noStrike" dirty="0">
                        <a:solidFill>
                          <a:srgbClr val="000000"/>
                        </a:solidFill>
                        <a:effectLst/>
                        <a:latin typeface="Calibri" panose="020F0502020204030204" pitchFamily="34" charset="0"/>
                      </a:endParaRPr>
                    </a:p>
                  </a:txBody>
                  <a:tcPr marL="5175" marR="5175" marT="5175" marB="0" anchor="ctr">
                    <a:lnL>
                      <a:noFill/>
                    </a:lnL>
                    <a:lnR>
                      <a:noFill/>
                    </a:lnR>
                    <a:lnT>
                      <a:noFill/>
                    </a:lnT>
                    <a:lnB>
                      <a:noFill/>
                    </a:lnB>
                    <a:solidFill>
                      <a:srgbClr val="FFFFFF"/>
                    </a:solidFill>
                  </a:tcPr>
                </a:tc>
                <a:tc>
                  <a:txBody>
                    <a:bodyPr/>
                    <a:lstStyle/>
                    <a:p>
                      <a:pPr algn="ctr" fontAlgn="b"/>
                      <a:r>
                        <a:rPr lang="en-IN" sz="1000" b="0" i="0" u="none" strike="noStrike" dirty="0">
                          <a:solidFill>
                            <a:srgbClr val="000000"/>
                          </a:solidFill>
                          <a:effectLst/>
                          <a:latin typeface="Calibri" panose="020F0502020204030204" pitchFamily="34" charset="0"/>
                        </a:rPr>
                        <a:t>Diversified</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FFFFF"/>
                    </a:solidFill>
                  </a:tcPr>
                </a:tc>
                <a:tc>
                  <a:txBody>
                    <a:bodyPr/>
                    <a:lstStyle/>
                    <a:p>
                      <a:pPr marL="0" marR="0" lvl="0" indent="0" algn="ctr" defTabSz="914400" rtl="0" eaLnBrk="1" fontAlgn="b" latinLnBrk="1" hangingPunct="1">
                        <a:lnSpc>
                          <a:spcPct val="100000"/>
                        </a:lnSpc>
                        <a:spcBef>
                          <a:spcPts val="0"/>
                        </a:spcBef>
                        <a:spcAft>
                          <a:spcPts val="0"/>
                        </a:spcAft>
                        <a:buClrTx/>
                        <a:buSzTx/>
                        <a:buFontTx/>
                        <a:buNone/>
                        <a:defRPr/>
                      </a:pPr>
                      <a:r>
                        <a:rPr kumimoji="0" lang="en-IN" sz="1000" b="0" i="0" u="none" strike="noStrike" kern="1200" cap="none" spc="0" normalizeH="0" baseline="0" noProof="0" dirty="0">
                          <a:ln>
                            <a:noFill/>
                          </a:ln>
                          <a:solidFill>
                            <a:srgbClr val="000000"/>
                          </a:solidFill>
                          <a:effectLst/>
                          <a:uLnTx/>
                          <a:uFillTx/>
                          <a:latin typeface="Calibri" panose="020F0502020204030204" pitchFamily="34" charset="0"/>
                          <a:ea typeface="Roboto Condensed Light"/>
                          <a:cs typeface="+mn-cs"/>
                        </a:rPr>
                        <a:t>20.0%</a:t>
                      </a:r>
                      <a:endParaRPr kumimoji="0" lang="en-IN" sz="1000" b="0" i="0" u="none" strike="noStrike" kern="1200" cap="none" spc="0" normalizeH="0" baseline="0" noProof="0" dirty="0">
                        <a:ln>
                          <a:noFill/>
                        </a:ln>
                        <a:solidFill>
                          <a:srgbClr val="000000"/>
                        </a:solidFill>
                        <a:effectLst/>
                        <a:uLnTx/>
                        <a:uFillTx/>
                        <a:latin typeface="Calibri" panose="020F0502020204030204" pitchFamily="34" charset="0"/>
                        <a:ea typeface="Roboto Condensed Light"/>
                        <a:cs typeface="+mn-cs"/>
                      </a:endParaRPr>
                    </a:p>
                  </a:txBody>
                  <a:tcPr marL="9525" marR="9525" marT="9525" marB="0" anchor="ctr">
                    <a:lnL>
                      <a:noFill/>
                    </a:lnL>
                    <a:lnR>
                      <a:noFill/>
                    </a:lnR>
                    <a:lnT>
                      <a:noFill/>
                    </a:lnT>
                    <a:lnB>
                      <a:noFill/>
                    </a:lnB>
                    <a:solidFill>
                      <a:srgbClr val="FFFFFF"/>
                    </a:solidFill>
                  </a:tcPr>
                </a:tc>
                <a:tc>
                  <a:txBody>
                    <a:bodyPr/>
                    <a:lstStyle/>
                    <a:p>
                      <a:pPr algn="ctr" fontAlgn="b"/>
                      <a:endParaRPr lang="en-IN"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rtl="0" fontAlgn="ctr"/>
                      <a:r>
                        <a:rPr lang="en-GB" sz="1000" b="0" i="0" u="none" strike="noStrike">
                          <a:solidFill>
                            <a:srgbClr val="000000"/>
                          </a:solidFill>
                          <a:effectLst/>
                          <a:latin typeface="Calibri" panose="020F0502020204030204" pitchFamily="34" charset="0"/>
                        </a:rPr>
                        <a:t>Consumer Discretionary</a:t>
                      </a:r>
                      <a:endParaRPr lang="en-GB" sz="10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1000" b="0" i="0" u="none" strike="noStrike">
                          <a:solidFill>
                            <a:srgbClr val="000000"/>
                          </a:solidFill>
                          <a:effectLst/>
                          <a:latin typeface="Calibri" panose="020F0502020204030204" pitchFamily="34" charset="0"/>
                        </a:rPr>
                        <a:t>14.1%</a:t>
                      </a:r>
                      <a:endParaRPr lang="en-GB" sz="10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09484">
                <a:tc>
                  <a:txBody>
                    <a:bodyPr/>
                    <a:lstStyle/>
                    <a:p>
                      <a:pPr algn="ctr" fontAlgn="ctr"/>
                      <a:r>
                        <a:rPr lang="en-IN" sz="900" b="0" i="0" u="none" strike="noStrike" dirty="0">
                          <a:solidFill>
                            <a:srgbClr val="000000"/>
                          </a:solidFill>
                          <a:effectLst/>
                          <a:latin typeface="Calibri" panose="020F0502020204030204" pitchFamily="34" charset="0"/>
                        </a:rPr>
                        <a:t>Nippon India Large Cap</a:t>
                      </a:r>
                      <a:endParaRPr lang="en-IN" sz="900" b="0" i="0" u="none" strike="noStrike" dirty="0">
                        <a:solidFill>
                          <a:srgbClr val="000000"/>
                        </a:solidFill>
                        <a:effectLst/>
                        <a:latin typeface="Calibri" panose="020F0502020204030204" pitchFamily="34" charset="0"/>
                      </a:endParaRPr>
                    </a:p>
                  </a:txBody>
                  <a:tcPr marL="5175" marR="5175" marT="5175" marB="0" anchor="ctr">
                    <a:lnL>
                      <a:noFill/>
                    </a:lnL>
                    <a:lnR>
                      <a:noFill/>
                    </a:lnR>
                    <a:lnT>
                      <a:noFill/>
                    </a:lnT>
                    <a:lnB>
                      <a:noFill/>
                    </a:lnB>
                    <a:solidFill>
                      <a:srgbClr val="F2F2F2"/>
                    </a:solidFill>
                  </a:tcPr>
                </a:tc>
                <a:tc>
                  <a:txBody>
                    <a:bodyPr/>
                    <a:lstStyle/>
                    <a:p>
                      <a:pPr algn="ctr" fontAlgn="b"/>
                      <a:r>
                        <a:rPr lang="en-IN" sz="1000" b="0" i="0" u="none" strike="noStrike" dirty="0">
                          <a:solidFill>
                            <a:srgbClr val="000000"/>
                          </a:solidFill>
                          <a:effectLst/>
                          <a:latin typeface="Calibri" panose="020F0502020204030204" pitchFamily="34" charset="0"/>
                        </a:rPr>
                        <a:t>Diversified</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2F2F2"/>
                    </a:solidFill>
                  </a:tcPr>
                </a:tc>
                <a:tc>
                  <a:txBody>
                    <a:bodyPr/>
                    <a:lstStyle/>
                    <a:p>
                      <a:pPr marL="0" marR="0" lvl="0" indent="0" algn="ctr" defTabSz="914400" rtl="0" eaLnBrk="1" fontAlgn="b" latinLnBrk="1" hangingPunct="1">
                        <a:lnSpc>
                          <a:spcPct val="100000"/>
                        </a:lnSpc>
                        <a:spcBef>
                          <a:spcPts val="0"/>
                        </a:spcBef>
                        <a:spcAft>
                          <a:spcPts val="0"/>
                        </a:spcAft>
                        <a:buClrTx/>
                        <a:buSzTx/>
                        <a:buFontTx/>
                        <a:buNone/>
                        <a:defRPr/>
                      </a:pPr>
                      <a:r>
                        <a:rPr kumimoji="0" lang="en-IN" sz="1000" b="0" i="0" u="none" strike="noStrike" kern="1200" cap="none" spc="0" normalizeH="0" baseline="0" noProof="0" dirty="0">
                          <a:ln>
                            <a:noFill/>
                          </a:ln>
                          <a:solidFill>
                            <a:srgbClr val="000000"/>
                          </a:solidFill>
                          <a:effectLst/>
                          <a:uLnTx/>
                          <a:uFillTx/>
                          <a:latin typeface="Calibri" panose="020F0502020204030204" pitchFamily="34" charset="0"/>
                          <a:ea typeface="Roboto Condensed Light"/>
                          <a:cs typeface="+mn-cs"/>
                        </a:rPr>
                        <a:t>10.0%</a:t>
                      </a:r>
                      <a:endParaRPr kumimoji="0" lang="en-IN" sz="1000" b="0" i="0" u="none" strike="noStrike" kern="1200" cap="none" spc="0" normalizeH="0" baseline="0" noProof="0" dirty="0">
                        <a:ln>
                          <a:noFill/>
                        </a:ln>
                        <a:solidFill>
                          <a:srgbClr val="000000"/>
                        </a:solidFill>
                        <a:effectLst/>
                        <a:uLnTx/>
                        <a:uFillTx/>
                        <a:latin typeface="Calibri" panose="020F0502020204030204" pitchFamily="34" charset="0"/>
                        <a:ea typeface="Roboto Condensed Light"/>
                        <a:cs typeface="+mn-cs"/>
                      </a:endParaRPr>
                    </a:p>
                  </a:txBody>
                  <a:tcPr marL="9525" marR="9525" marT="9525" marB="0" anchor="ctr">
                    <a:lnL>
                      <a:noFill/>
                    </a:lnL>
                    <a:lnR>
                      <a:noFill/>
                    </a:lnR>
                    <a:lnT>
                      <a:noFill/>
                    </a:lnT>
                    <a:lnB>
                      <a:noFill/>
                    </a:lnB>
                    <a:solidFill>
                      <a:srgbClr val="F2F2F2"/>
                    </a:solidFill>
                  </a:tcPr>
                </a:tc>
                <a:tc>
                  <a:txBody>
                    <a:bodyPr/>
                    <a:lstStyle/>
                    <a:p>
                      <a:pPr algn="ctr" fontAlgn="b"/>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rtl="0" fontAlgn="ctr"/>
                      <a:r>
                        <a:rPr lang="en-GB" sz="1000" b="0" i="0" u="none" strike="noStrike">
                          <a:solidFill>
                            <a:srgbClr val="000000"/>
                          </a:solidFill>
                          <a:effectLst/>
                          <a:latin typeface="Calibri" panose="020F0502020204030204" pitchFamily="34" charset="0"/>
                        </a:rPr>
                        <a:t>Energy</a:t>
                      </a:r>
                      <a:endParaRPr lang="en-GB" sz="10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a:txBody>
                    <a:bodyPr/>
                    <a:lstStyle/>
                    <a:p>
                      <a:pPr algn="ctr" rtl="0" fontAlgn="ctr"/>
                      <a:r>
                        <a:rPr lang="en-GB" sz="1000" b="0" i="0" u="none" strike="noStrike">
                          <a:solidFill>
                            <a:srgbClr val="000000"/>
                          </a:solidFill>
                          <a:effectLst/>
                          <a:latin typeface="Calibri" panose="020F0502020204030204" pitchFamily="34" charset="0"/>
                        </a:rPr>
                        <a:t>7.9%</a:t>
                      </a:r>
                      <a:endParaRPr lang="en-GB" sz="10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r>
              <a:tr h="209484">
                <a:tc>
                  <a:txBody>
                    <a:bodyPr/>
                    <a:lstStyle/>
                    <a:p>
                      <a:pPr algn="ctr" fontAlgn="ctr"/>
                      <a:r>
                        <a:rPr lang="en-IN" sz="900" b="0" i="0" u="none" strike="noStrike" dirty="0">
                          <a:solidFill>
                            <a:srgbClr val="000000"/>
                          </a:solidFill>
                          <a:effectLst/>
                          <a:latin typeface="Calibri" panose="020F0502020204030204" pitchFamily="34" charset="0"/>
                        </a:rPr>
                        <a:t>SBI Sensex ETF</a:t>
                      </a:r>
                      <a:endParaRPr lang="en-IN" sz="900" b="0" i="0" u="none" strike="noStrike" dirty="0">
                        <a:solidFill>
                          <a:srgbClr val="000000"/>
                        </a:solidFill>
                        <a:effectLst/>
                        <a:latin typeface="Calibri" panose="020F0502020204030204" pitchFamily="34" charset="0"/>
                      </a:endParaRPr>
                    </a:p>
                  </a:txBody>
                  <a:tcPr marL="5175" marR="5175" marT="5175" marB="0" anchor="ctr">
                    <a:lnL>
                      <a:noFill/>
                    </a:lnL>
                    <a:lnR>
                      <a:noFill/>
                    </a:lnR>
                    <a:lnT>
                      <a:noFill/>
                    </a:lnT>
                    <a:lnB>
                      <a:noFill/>
                    </a:lnB>
                    <a:solidFill>
                      <a:srgbClr val="FFFFFF"/>
                    </a:solidFill>
                  </a:tcPr>
                </a:tc>
                <a:tc>
                  <a:txBody>
                    <a:bodyPr/>
                    <a:lstStyle/>
                    <a:p>
                      <a:pPr algn="ctr" fontAlgn="b"/>
                      <a:r>
                        <a:rPr lang="en-IN" sz="1000" b="0" i="0" u="none" strike="noStrike">
                          <a:solidFill>
                            <a:srgbClr val="000000"/>
                          </a:solidFill>
                          <a:effectLst/>
                          <a:latin typeface="Calibri" panose="020F0502020204030204" pitchFamily="34" charset="0"/>
                        </a:rPr>
                        <a:t>Diversified</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FFFFF"/>
                    </a:solidFill>
                  </a:tcPr>
                </a:tc>
                <a:tc>
                  <a:txBody>
                    <a:bodyPr/>
                    <a:lstStyle/>
                    <a:p>
                      <a:pPr marL="0" marR="0" lvl="0" indent="0" algn="ctr" defTabSz="914400" rtl="0" eaLnBrk="1" fontAlgn="b" latinLnBrk="1" hangingPunct="1">
                        <a:lnSpc>
                          <a:spcPct val="100000"/>
                        </a:lnSpc>
                        <a:spcBef>
                          <a:spcPts val="0"/>
                        </a:spcBef>
                        <a:spcAft>
                          <a:spcPts val="0"/>
                        </a:spcAft>
                        <a:buClrTx/>
                        <a:buSzTx/>
                        <a:buFontTx/>
                        <a:buNone/>
                        <a:defRPr/>
                      </a:pPr>
                      <a:r>
                        <a:rPr kumimoji="0" lang="en-IN" sz="1000" b="0" i="0" u="none" strike="noStrike" kern="1200" cap="none" spc="0" normalizeH="0" baseline="0" noProof="0" dirty="0">
                          <a:ln>
                            <a:noFill/>
                          </a:ln>
                          <a:solidFill>
                            <a:srgbClr val="000000"/>
                          </a:solidFill>
                          <a:effectLst/>
                          <a:uLnTx/>
                          <a:uFillTx/>
                          <a:latin typeface="Calibri" panose="020F0502020204030204" pitchFamily="34" charset="0"/>
                          <a:ea typeface="Roboto Condensed Light"/>
                          <a:cs typeface="+mn-cs"/>
                        </a:rPr>
                        <a:t>20.0%</a:t>
                      </a:r>
                      <a:endParaRPr kumimoji="0" lang="en-IN" sz="1000" b="0" i="0" u="none" strike="noStrike" kern="1200" cap="none" spc="0" normalizeH="0" baseline="0" noProof="0" dirty="0">
                        <a:ln>
                          <a:noFill/>
                        </a:ln>
                        <a:solidFill>
                          <a:srgbClr val="000000"/>
                        </a:solidFill>
                        <a:effectLst/>
                        <a:uLnTx/>
                        <a:uFillTx/>
                        <a:latin typeface="Calibri" panose="020F0502020204030204" pitchFamily="34" charset="0"/>
                        <a:ea typeface="Roboto Condensed Light"/>
                        <a:cs typeface="+mn-cs"/>
                      </a:endParaRPr>
                    </a:p>
                  </a:txBody>
                  <a:tcPr marL="9525" marR="9525" marT="9525" marB="0" anchor="ctr">
                    <a:lnL>
                      <a:noFill/>
                    </a:lnL>
                    <a:lnR>
                      <a:noFill/>
                    </a:lnR>
                    <a:lnT>
                      <a:noFill/>
                    </a:lnT>
                    <a:lnB>
                      <a:noFill/>
                    </a:lnB>
                    <a:solidFill>
                      <a:srgbClr val="FFFFFF"/>
                    </a:solidFill>
                  </a:tcPr>
                </a:tc>
                <a:tc>
                  <a:txBody>
                    <a:bodyPr/>
                    <a:lstStyle/>
                    <a:p>
                      <a:pPr algn="ctr" fontAlgn="b"/>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rtl="0" fontAlgn="ctr"/>
                      <a:r>
                        <a:rPr lang="en-GB" sz="1000" b="0" i="0" u="none" strike="noStrike">
                          <a:solidFill>
                            <a:srgbClr val="000000"/>
                          </a:solidFill>
                          <a:effectLst/>
                          <a:latin typeface="Calibri" panose="020F0502020204030204" pitchFamily="34" charset="0"/>
                        </a:rPr>
                        <a:t>Industrials</a:t>
                      </a:r>
                      <a:endParaRPr lang="en-GB" sz="10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1000" b="0" i="0" u="none" strike="noStrike" dirty="0">
                          <a:solidFill>
                            <a:srgbClr val="000000"/>
                          </a:solidFill>
                          <a:effectLst/>
                          <a:latin typeface="Calibri" panose="020F0502020204030204" pitchFamily="34" charset="0"/>
                        </a:rPr>
                        <a:t>7.1%</a:t>
                      </a:r>
                      <a:endParaRPr lang="en-GB" sz="10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0">
                <a:tc>
                  <a:txBody>
                    <a:bodyPr/>
                    <a:lstStyle/>
                    <a:p>
                      <a:pPr marL="0" marR="0" algn="ctr" defTabSz="914400" rtl="0" eaLnBrk="1" fontAlgn="b" latinLnBrk="1" hangingPunct="1">
                        <a:lnSpc>
                          <a:spcPct val="115000"/>
                        </a:lnSpc>
                        <a:spcBef>
                          <a:spcPts val="500"/>
                        </a:spcBef>
                        <a:spcAft>
                          <a:spcPts val="1000"/>
                        </a:spcAft>
                      </a:pPr>
                      <a:endParaRPr lang="en-IN" sz="1000" b="0" i="0" u="none" strike="noStrike" kern="1200" dirty="0">
                        <a:solidFill>
                          <a:srgbClr val="000000"/>
                        </a:solidFill>
                        <a:effectLst/>
                        <a:latin typeface="Calibri" panose="020F0502020204030204" pitchFamily="34" charset="0"/>
                        <a:ea typeface="+mn-ea"/>
                        <a:cs typeface="+mn-cs"/>
                      </a:endParaRPr>
                    </a:p>
                  </a:txBody>
                  <a:tcPr marL="9525" marR="9525" marT="9525" marB="0" anchor="ctr">
                    <a:lnL>
                      <a:noFill/>
                    </a:lnL>
                    <a:lnR>
                      <a:noFill/>
                    </a:lnR>
                    <a:lnT>
                      <a:noFill/>
                    </a:lnT>
                    <a:lnB>
                      <a:noFill/>
                    </a:lnB>
                  </a:tcPr>
                </a:tc>
                <a:tc>
                  <a:txBody>
                    <a:bodyPr/>
                    <a:lstStyle/>
                    <a:p>
                      <a:pPr algn="ctr" fontAlgn="b"/>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endParaRPr lang="en-IN"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r>
              <a:tr h="209484">
                <a:tc>
                  <a:txBody>
                    <a:bodyPr/>
                    <a:lstStyle/>
                    <a:p>
                      <a:pPr algn="ctr" fontAlgn="ctr"/>
                      <a:r>
                        <a:rPr lang="en-IN" sz="1000" b="1" i="0" u="none" strike="noStrike">
                          <a:solidFill>
                            <a:srgbClr val="000000"/>
                          </a:solidFill>
                          <a:effectLst/>
                          <a:latin typeface="Calibri" panose="020F0502020204030204" pitchFamily="34" charset="0"/>
                        </a:rPr>
                        <a:t>Category</a:t>
                      </a:r>
                      <a:endParaRPr lang="en-IN" sz="1000" b="1"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2F2F2"/>
                    </a:solidFill>
                  </a:tcPr>
                </a:tc>
                <a:tc>
                  <a:txBody>
                    <a:bodyPr/>
                    <a:lstStyle/>
                    <a:p>
                      <a:pPr algn="ctr" fontAlgn="ctr"/>
                      <a:r>
                        <a:rPr lang="en-IN" sz="1000" b="1" i="0" u="none" strike="noStrike" dirty="0">
                          <a:solidFill>
                            <a:srgbClr val="000000"/>
                          </a:solidFill>
                          <a:effectLst/>
                          <a:latin typeface="Calibri" panose="020F0502020204030204" pitchFamily="34" charset="0"/>
                        </a:rPr>
                        <a:t>Definition</a:t>
                      </a:r>
                      <a:endParaRPr lang="en-IN" sz="1000" b="1"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2F2F2"/>
                    </a:solidFill>
                  </a:tcPr>
                </a:tc>
                <a:tc>
                  <a:txBody>
                    <a:bodyPr/>
                    <a:lstStyle/>
                    <a:p>
                      <a:pPr algn="ctr" fontAlgn="ctr"/>
                      <a:r>
                        <a:rPr lang="en-IN" sz="1000" b="1" i="0" u="none" strike="noStrike" dirty="0">
                          <a:solidFill>
                            <a:srgbClr val="000000"/>
                          </a:solidFill>
                          <a:effectLst/>
                          <a:latin typeface="Calibri" panose="020F0502020204030204" pitchFamily="34" charset="0"/>
                        </a:rPr>
                        <a:t>Weightage (%)</a:t>
                      </a:r>
                      <a:endParaRPr lang="en-IN" sz="1000" b="1"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2F2F2"/>
                    </a:solidFill>
                  </a:tcPr>
                </a:tc>
                <a:tc>
                  <a:txBody>
                    <a:bodyPr/>
                    <a:lstStyle/>
                    <a:p>
                      <a:pPr algn="ctr" fontAlgn="ctr"/>
                      <a:endParaRPr lang="en-IN"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gridSpan="2">
                  <a:txBody>
                    <a:bodyPr/>
                    <a:lstStyle/>
                    <a:p>
                      <a:pPr algn="ctr" fontAlgn="ctr"/>
                      <a:r>
                        <a:rPr lang="en-IN" sz="1000" b="1" i="0" u="none" strike="noStrike" dirty="0">
                          <a:solidFill>
                            <a:srgbClr val="000000"/>
                          </a:solidFill>
                          <a:effectLst/>
                          <a:latin typeface="Calibri" panose="020F0502020204030204" pitchFamily="34" charset="0"/>
                        </a:rPr>
                        <a:t>Style Allocation</a:t>
                      </a:r>
                      <a:endParaRPr lang="en-IN" sz="1000" b="1"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2F2F2"/>
                    </a:solidFill>
                  </a:tcPr>
                </a:tc>
                <a:tc hMerge="1">
                  <a:tcPr/>
                </a:tc>
              </a:tr>
              <a:tr h="209484">
                <a:tc>
                  <a:txBody>
                    <a:bodyPr/>
                    <a:lstStyle/>
                    <a:p>
                      <a:pPr algn="ctr" fontAlgn="b"/>
                      <a:r>
                        <a:rPr lang="en-IN" sz="1000" b="0" i="0" u="none" strike="noStrike">
                          <a:solidFill>
                            <a:srgbClr val="000000"/>
                          </a:solidFill>
                          <a:effectLst/>
                          <a:latin typeface="Calibri" panose="020F0502020204030204" pitchFamily="34" charset="0"/>
                        </a:rPr>
                        <a:t>Large-Cap</a:t>
                      </a:r>
                      <a:endParaRPr lang="en-IN" sz="10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FFFFF"/>
                    </a:solidFill>
                  </a:tcPr>
                </a:tc>
                <a:tc>
                  <a:txBody>
                    <a:bodyPr/>
                    <a:lstStyle/>
                    <a:p>
                      <a:pPr algn="ctr" fontAlgn="b"/>
                      <a:r>
                        <a:rPr lang="en-IN" sz="1000" b="0" i="0" u="none" strike="noStrike" dirty="0">
                          <a:solidFill>
                            <a:srgbClr val="000000"/>
                          </a:solidFill>
                          <a:effectLst/>
                          <a:latin typeface="Calibri" panose="020F0502020204030204" pitchFamily="34" charset="0"/>
                        </a:rPr>
                        <a:t>As per SEBI classification</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FFFFF"/>
                    </a:solidFill>
                  </a:tcPr>
                </a:tc>
                <a:tc>
                  <a:txBody>
                    <a:bodyPr/>
                    <a:lstStyle/>
                    <a:p>
                      <a:pPr algn="ctr" fontAlgn="b"/>
                      <a:r>
                        <a:rPr lang="en-IN" sz="1000" b="0" i="0" u="none" strike="noStrike" dirty="0">
                          <a:solidFill>
                            <a:srgbClr val="000000"/>
                          </a:solidFill>
                          <a:effectLst/>
                          <a:latin typeface="Calibri" panose="020F0502020204030204" pitchFamily="34" charset="0"/>
                        </a:rPr>
                        <a:t>40%</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FFFFF"/>
                    </a:solidFill>
                  </a:tcPr>
                </a:tc>
                <a:tc>
                  <a:txBody>
                    <a:bodyPr/>
                    <a:lstStyle/>
                    <a:p>
                      <a:pPr algn="ctr" fontAlgn="b"/>
                      <a:endParaRPr lang="en-IN"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en-IN" sz="1000" b="0" i="0" u="none" strike="noStrike" dirty="0">
                          <a:solidFill>
                            <a:srgbClr val="000000"/>
                          </a:solidFill>
                          <a:effectLst/>
                          <a:latin typeface="Calibri" panose="020F0502020204030204" pitchFamily="34" charset="0"/>
                        </a:rPr>
                        <a:t>Growth</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en-IN" sz="1000" b="0" i="0" u="none" strike="noStrike" dirty="0">
                          <a:solidFill>
                            <a:srgbClr val="000000"/>
                          </a:solidFill>
                          <a:effectLst/>
                          <a:latin typeface="Calibri" panose="020F0502020204030204" pitchFamily="34" charset="0"/>
                        </a:rPr>
                        <a:t>20.0%</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r>
              <a:tr h="209484">
                <a:tc>
                  <a:txBody>
                    <a:bodyPr/>
                    <a:lstStyle/>
                    <a:p>
                      <a:pPr algn="ctr" fontAlgn="b"/>
                      <a:r>
                        <a:rPr lang="en-IN" sz="1000" b="0" i="0" u="none" strike="noStrike" dirty="0">
                          <a:solidFill>
                            <a:srgbClr val="000000"/>
                          </a:solidFill>
                          <a:effectLst/>
                          <a:latin typeface="Calibri" panose="020F0502020204030204" pitchFamily="34" charset="0"/>
                        </a:rPr>
                        <a:t>Large-mid</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2F2F2"/>
                    </a:solidFill>
                  </a:tcPr>
                </a:tc>
                <a:tc>
                  <a:txBody>
                    <a:bodyPr/>
                    <a:lstStyle/>
                    <a:p>
                      <a:pPr algn="ctr" fontAlgn="b"/>
                      <a:r>
                        <a:rPr kumimoji="0" lang="en-IN" sz="1000" b="0" i="0" u="none" strike="noStrike" kern="1200" cap="none" spc="0" normalizeH="0" baseline="0" noProof="0" dirty="0">
                          <a:ln>
                            <a:noFill/>
                          </a:ln>
                          <a:solidFill>
                            <a:srgbClr val="000000"/>
                          </a:solidFill>
                          <a:effectLst/>
                          <a:uLnTx/>
                          <a:uFillTx/>
                          <a:latin typeface="Calibri" panose="020F0502020204030204" pitchFamily="34" charset="0"/>
                          <a:ea typeface="Roboto Condensed Light"/>
                          <a:cs typeface="+mn-cs"/>
                        </a:rPr>
                        <a:t>As per SEBI classification</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2F2F2"/>
                    </a:solidFill>
                  </a:tcPr>
                </a:tc>
                <a:tc>
                  <a:txBody>
                    <a:bodyPr/>
                    <a:lstStyle/>
                    <a:p>
                      <a:pPr algn="ctr" fontAlgn="b"/>
                      <a:r>
                        <a:rPr lang="en-IN" sz="1000" b="0" i="0" u="none" strike="noStrike" dirty="0">
                          <a:solidFill>
                            <a:srgbClr val="000000"/>
                          </a:solidFill>
                          <a:effectLst/>
                          <a:latin typeface="Calibri" panose="020F0502020204030204" pitchFamily="34" charset="0"/>
                        </a:rPr>
                        <a:t>20%</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2F2F2"/>
                    </a:solidFill>
                  </a:tcPr>
                </a:tc>
                <a:tc>
                  <a:txBody>
                    <a:bodyPr/>
                    <a:lstStyle/>
                    <a:p>
                      <a:pPr algn="ctr" fontAlgn="b"/>
                      <a:endParaRPr lang="en-IN"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en-IN" sz="1000" b="0" i="0" u="none" strike="noStrike" dirty="0">
                          <a:solidFill>
                            <a:srgbClr val="000000"/>
                          </a:solidFill>
                          <a:effectLst/>
                          <a:latin typeface="Calibri" panose="020F0502020204030204" pitchFamily="34" charset="0"/>
                        </a:rPr>
                        <a:t>GARP</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2F2F2"/>
                    </a:solidFill>
                  </a:tcPr>
                </a:tc>
                <a:tc>
                  <a:txBody>
                    <a:bodyPr/>
                    <a:lstStyle/>
                    <a:p>
                      <a:pPr algn="ctr" fontAlgn="b"/>
                      <a:r>
                        <a:rPr lang="en-IN" sz="1000" b="0" i="0" u="none" strike="noStrike" dirty="0">
                          <a:solidFill>
                            <a:srgbClr val="000000"/>
                          </a:solidFill>
                          <a:effectLst/>
                          <a:latin typeface="Calibri" panose="020F0502020204030204" pitchFamily="34" charset="0"/>
                        </a:rPr>
                        <a:t>50.0%</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2F2F2"/>
                    </a:solidFill>
                  </a:tcPr>
                </a:tc>
              </a:tr>
              <a:tr h="209484">
                <a:tc>
                  <a:txBody>
                    <a:bodyPr/>
                    <a:lstStyle/>
                    <a:p>
                      <a:pPr algn="ctr" fontAlgn="b"/>
                      <a:r>
                        <a:rPr lang="en-IN" sz="1000" b="0" i="0" u="none" strike="noStrike" dirty="0">
                          <a:solidFill>
                            <a:srgbClr val="000000"/>
                          </a:solidFill>
                          <a:effectLst/>
                          <a:latin typeface="Calibri" panose="020F0502020204030204" pitchFamily="34" charset="0"/>
                        </a:rPr>
                        <a:t>Multi-cap </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FFFFF"/>
                    </a:solidFill>
                  </a:tcPr>
                </a:tc>
                <a:tc>
                  <a:txBody>
                    <a:bodyPr/>
                    <a:lstStyle/>
                    <a:p>
                      <a:pPr algn="ctr" fontAlgn="b"/>
                      <a:r>
                        <a:rPr kumimoji="0" lang="en-IN" sz="1000" b="0" i="0" u="none" strike="noStrike" kern="1200" cap="none" spc="0" normalizeH="0" baseline="0" noProof="0" dirty="0">
                          <a:ln>
                            <a:noFill/>
                          </a:ln>
                          <a:solidFill>
                            <a:srgbClr val="000000"/>
                          </a:solidFill>
                          <a:effectLst/>
                          <a:uLnTx/>
                          <a:uFillTx/>
                          <a:latin typeface="Calibri" panose="020F0502020204030204" pitchFamily="34" charset="0"/>
                          <a:ea typeface="Roboto Condensed Light"/>
                          <a:cs typeface="+mn-cs"/>
                        </a:rPr>
                        <a:t>As per SEBI classification</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FFFFF"/>
                    </a:solidFill>
                  </a:tcPr>
                </a:tc>
                <a:tc>
                  <a:txBody>
                    <a:bodyPr/>
                    <a:lstStyle/>
                    <a:p>
                      <a:pPr algn="ctr" fontAlgn="b"/>
                      <a:r>
                        <a:rPr lang="en-IN" sz="1000" b="0" i="0" u="none" strike="noStrike" dirty="0">
                          <a:solidFill>
                            <a:srgbClr val="000000"/>
                          </a:solidFill>
                          <a:effectLst/>
                          <a:latin typeface="Calibri" panose="020F0502020204030204" pitchFamily="34" charset="0"/>
                        </a:rPr>
                        <a:t>40%</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FFFFF"/>
                    </a:solidFill>
                  </a:tcPr>
                </a:tc>
                <a:tc>
                  <a:txBody>
                    <a:bodyPr/>
                    <a:lstStyle/>
                    <a:p>
                      <a:pPr algn="ctr" fontAlgn="b"/>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en-IN" sz="1000" b="0" i="0" u="none" strike="noStrike" dirty="0">
                          <a:solidFill>
                            <a:srgbClr val="000000"/>
                          </a:solidFill>
                          <a:effectLst/>
                          <a:latin typeface="Calibri" panose="020F0502020204030204" pitchFamily="34" charset="0"/>
                        </a:rPr>
                        <a:t>Value</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en-IN" sz="1000" b="0" i="0" u="none" strike="noStrike" dirty="0">
                          <a:solidFill>
                            <a:srgbClr val="000000"/>
                          </a:solidFill>
                          <a:effectLst/>
                          <a:latin typeface="Calibri" panose="020F0502020204030204" pitchFamily="34" charset="0"/>
                        </a:rPr>
                        <a:t>0.00%</a:t>
                      </a:r>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r>
              <a:tr h="209484">
                <a:tc>
                  <a:txBody>
                    <a:bodyPr/>
                    <a:lstStyle/>
                    <a:p>
                      <a:pPr algn="ctr" fontAlgn="b"/>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FFFFF"/>
                    </a:solidFill>
                  </a:tcPr>
                </a:tc>
                <a:tc>
                  <a:txBody>
                    <a:bodyPr/>
                    <a:lstStyle/>
                    <a:p>
                      <a:pPr algn="ctr" fontAlgn="b"/>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FFFFF"/>
                    </a:solidFill>
                  </a:tcPr>
                </a:tc>
                <a:tc>
                  <a:txBody>
                    <a:bodyPr/>
                    <a:lstStyle/>
                    <a:p>
                      <a:pPr algn="ctr" fontAlgn="b"/>
                      <a:endParaRPr lang="en-IN" sz="10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FFFFF"/>
                    </a:solidFill>
                  </a:tcPr>
                </a:tc>
                <a:tc>
                  <a:txBody>
                    <a:bodyPr/>
                    <a:lstStyle/>
                    <a:p>
                      <a:pPr algn="ctr" fontAlgn="b"/>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marL="0" algn="ctr" defTabSz="914400" rtl="0" eaLnBrk="1" fontAlgn="b" latinLnBrk="1" hangingPunct="1"/>
                      <a:r>
                        <a:rPr lang="en-IN" sz="1000" b="0" i="0" u="none" strike="noStrike" kern="1200" dirty="0">
                          <a:solidFill>
                            <a:srgbClr val="000000"/>
                          </a:solidFill>
                          <a:effectLst/>
                          <a:latin typeface="Calibri" panose="020F0502020204030204" pitchFamily="34" charset="0"/>
                          <a:ea typeface="+mn-ea"/>
                          <a:cs typeface="+mn-cs"/>
                        </a:rPr>
                        <a:t>Passive</a:t>
                      </a:r>
                      <a:endParaRPr lang="en-IN" sz="1000" b="0" i="0" u="none" strike="noStrike" kern="1200" dirty="0">
                        <a:solidFill>
                          <a:srgbClr val="000000"/>
                        </a:solidFill>
                        <a:effectLst/>
                        <a:latin typeface="Calibri" panose="020F0502020204030204" pitchFamily="34" charset="0"/>
                        <a:ea typeface="+mn-ea"/>
                        <a:cs typeface="+mn-cs"/>
                      </a:endParaRPr>
                    </a:p>
                  </a:txBody>
                  <a:tcPr marL="9525" marR="9525" marT="9525" marB="0" anchor="ctr">
                    <a:lnL>
                      <a:noFill/>
                    </a:lnL>
                    <a:lnR>
                      <a:noFill/>
                    </a:lnR>
                    <a:lnT>
                      <a:noFill/>
                    </a:lnT>
                    <a:lnB>
                      <a:noFill/>
                    </a:lnB>
                    <a:solidFill>
                      <a:srgbClr val="F2F2F2"/>
                    </a:solidFill>
                  </a:tcPr>
                </a:tc>
                <a:tc>
                  <a:txBody>
                    <a:bodyPr/>
                    <a:lstStyle/>
                    <a:p>
                      <a:pPr marL="0" algn="ctr" defTabSz="914400" rtl="0" eaLnBrk="1" fontAlgn="b" latinLnBrk="1" hangingPunct="1"/>
                      <a:r>
                        <a:rPr lang="en-IN" sz="1000" b="0" i="0" u="none" strike="noStrike" kern="1200" dirty="0">
                          <a:solidFill>
                            <a:srgbClr val="000000"/>
                          </a:solidFill>
                          <a:effectLst/>
                          <a:latin typeface="Calibri" panose="020F0502020204030204" pitchFamily="34" charset="0"/>
                          <a:ea typeface="+mn-ea"/>
                          <a:cs typeface="+mn-cs"/>
                        </a:rPr>
                        <a:t>30.0%</a:t>
                      </a:r>
                      <a:endParaRPr lang="en-IN" sz="1000" b="0" i="0" u="none" strike="noStrike" kern="1200" dirty="0">
                        <a:solidFill>
                          <a:srgbClr val="000000"/>
                        </a:solidFill>
                        <a:effectLst/>
                        <a:latin typeface="Calibri" panose="020F0502020204030204" pitchFamily="34" charset="0"/>
                        <a:ea typeface="+mn-ea"/>
                        <a:cs typeface="+mn-cs"/>
                      </a:endParaRPr>
                    </a:p>
                  </a:txBody>
                  <a:tcPr marL="9525" marR="9525" marT="9525" marB="0" anchor="ctr">
                    <a:lnL>
                      <a:noFill/>
                    </a:lnL>
                    <a:lnR>
                      <a:noFill/>
                    </a:lnR>
                    <a:lnT>
                      <a:noFill/>
                    </a:lnT>
                    <a:lnB>
                      <a:noFill/>
                    </a:lnB>
                    <a:solidFill>
                      <a:srgbClr val="F2F2F2"/>
                    </a:solidFill>
                  </a:tcPr>
                </a:tc>
              </a:tr>
            </a:tbl>
          </a:graphicData>
        </a:graphic>
      </p:graphicFrame>
      <p:sp>
        <p:nvSpPr>
          <p:cNvPr id="3" name="TextBox 2"/>
          <p:cNvSpPr txBox="1"/>
          <p:nvPr/>
        </p:nvSpPr>
        <p:spPr>
          <a:xfrm>
            <a:off x="179390" y="4868383"/>
            <a:ext cx="2736380" cy="246221"/>
          </a:xfrm>
          <a:prstGeom prst="rect">
            <a:avLst/>
          </a:prstGeom>
          <a:noFill/>
        </p:spPr>
        <p:txBody>
          <a:bodyPr wrap="square" rtlCol="0">
            <a:spAutoFit/>
          </a:bodyPr>
          <a:lstStyle/>
          <a:p>
            <a:r>
              <a:rPr lang="en-IN" sz="1000" b="1" i="1" dirty="0">
                <a:latin typeface="Calibri" panose="020F0502020204030204" pitchFamily="34" charset="0"/>
              </a:rPr>
              <a:t>Benchmark: BSE 500 TRI</a:t>
            </a:r>
            <a:endParaRPr lang="en-IN" sz="1000" b="1" i="1" dirty="0">
              <a:latin typeface="Calibri" panose="020F0502020204030204" pitchFamily="34" charset="0"/>
            </a:endParaRPr>
          </a:p>
        </p:txBody>
      </p:sp>
    </p:spTree>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584" y="339725"/>
            <a:ext cx="8068925" cy="466725"/>
          </a:xfrm>
        </p:spPr>
        <p:txBody>
          <a:bodyPr/>
          <a:lstStyle/>
          <a:p>
            <a:r>
              <a:rPr lang="en-IN" sz="2000" b="1" dirty="0">
                <a:solidFill>
                  <a:schemeClr val="tx1">
                    <a:lumMod val="85000"/>
                    <a:lumOff val="15000"/>
                  </a:schemeClr>
                </a:solidFill>
                <a:latin typeface="Calibri" panose="020F0502020204030204" pitchFamily="34" charset="0"/>
                <a:cs typeface="Calibri" panose="020F0502020204030204" pitchFamily="34" charset="0"/>
              </a:rPr>
              <a:t>CA Multi-Manager Portfolio Performance as on 31</a:t>
            </a:r>
            <a:r>
              <a:rPr lang="en-IN" sz="2000" b="1" baseline="30000" dirty="0">
                <a:solidFill>
                  <a:schemeClr val="tx1">
                    <a:lumMod val="85000"/>
                    <a:lumOff val="15000"/>
                  </a:schemeClr>
                </a:solidFill>
                <a:latin typeface="Calibri" panose="020F0502020204030204" pitchFamily="34" charset="0"/>
                <a:cs typeface="Calibri" panose="020F0502020204030204" pitchFamily="34" charset="0"/>
              </a:rPr>
              <a:t>st</a:t>
            </a:r>
            <a:r>
              <a:rPr lang="en-IN" sz="2000" b="1" dirty="0">
                <a:solidFill>
                  <a:schemeClr val="tx1">
                    <a:lumMod val="85000"/>
                    <a:lumOff val="15000"/>
                  </a:schemeClr>
                </a:solidFill>
                <a:latin typeface="Calibri" panose="020F0502020204030204" pitchFamily="34" charset="0"/>
                <a:cs typeface="Calibri" panose="020F0502020204030204" pitchFamily="34" charset="0"/>
              </a:rPr>
              <a:t> May’25</a:t>
            </a:r>
            <a:endParaRPr lang="en-IN" sz="2000" b="1" dirty="0">
              <a:solidFill>
                <a:schemeClr val="tx1">
                  <a:lumMod val="85000"/>
                  <a:lumOff val="15000"/>
                </a:schemeClr>
              </a:solidFill>
              <a:latin typeface="Calibri" panose="020F0502020204030204" pitchFamily="34" charset="0"/>
              <a:cs typeface="Calibri" panose="020F0502020204030204" pitchFamily="34" charset="0"/>
            </a:endParaRPr>
          </a:p>
        </p:txBody>
      </p:sp>
      <p:sp>
        <p:nvSpPr>
          <p:cNvPr id="7" name="Rectangle 6"/>
          <p:cNvSpPr/>
          <p:nvPr/>
        </p:nvSpPr>
        <p:spPr>
          <a:xfrm>
            <a:off x="175584" y="4751943"/>
            <a:ext cx="8785220" cy="369332"/>
          </a:xfrm>
          <a:prstGeom prst="rect">
            <a:avLst/>
          </a:prstGeom>
        </p:spPr>
        <p:txBody>
          <a:bodyPr wrap="square">
            <a:spAutoFit/>
          </a:bodyPr>
          <a:lstStyle/>
          <a:p>
            <a:pPr marL="0" marR="0">
              <a:spcBef>
                <a:spcPts val="0"/>
              </a:spcBef>
              <a:spcAft>
                <a:spcPts val="0"/>
              </a:spcAft>
            </a:pPr>
            <a:r>
              <a:rPr lang="en-IN" sz="900" i="1" dirty="0">
                <a:solidFill>
                  <a:srgbClr val="002060"/>
                </a:solidFill>
                <a:latin typeface="Calibri" panose="020F0502020204030204" pitchFamily="34" charset="0"/>
                <a:ea typeface="Calibri" panose="020F0502020204030204" pitchFamily="34" charset="0"/>
              </a:rPr>
              <a:t>*</a:t>
            </a:r>
            <a:r>
              <a:rPr lang="en-IN" sz="900" i="1" dirty="0">
                <a:solidFill>
                  <a:srgbClr val="000000"/>
                </a:solidFill>
                <a:latin typeface="Calibri" panose="020F0502020204030204" pitchFamily="34" charset="0"/>
                <a:ea typeface="Calibri" panose="020F0502020204030204" pitchFamily="34" charset="0"/>
              </a:rPr>
              <a:t>Inception date for Multi-manager portfolio is 27</a:t>
            </a:r>
            <a:r>
              <a:rPr lang="en-IN" sz="900" i="1" baseline="30000" dirty="0">
                <a:solidFill>
                  <a:srgbClr val="000000"/>
                </a:solidFill>
                <a:latin typeface="Calibri" panose="020F0502020204030204" pitchFamily="34" charset="0"/>
                <a:ea typeface="Calibri" panose="020F0502020204030204" pitchFamily="34" charset="0"/>
              </a:rPr>
              <a:t>th</a:t>
            </a:r>
            <a:r>
              <a:rPr lang="en-IN" sz="900" i="1" dirty="0">
                <a:solidFill>
                  <a:srgbClr val="000000"/>
                </a:solidFill>
                <a:latin typeface="Calibri" panose="020F0502020204030204" pitchFamily="34" charset="0"/>
                <a:ea typeface="Calibri" panose="020F0502020204030204" pitchFamily="34" charset="0"/>
              </a:rPr>
              <a:t> December’2023</a:t>
            </a:r>
            <a:endParaRPr lang="en-IN" sz="900" i="1" dirty="0">
              <a:solidFill>
                <a:srgbClr val="000000"/>
              </a:solidFill>
              <a:latin typeface="Calibri" panose="020F0502020204030204" pitchFamily="34" charset="0"/>
              <a:ea typeface="Calibri" panose="020F0502020204030204" pitchFamily="34" charset="0"/>
            </a:endParaRPr>
          </a:p>
          <a:p>
            <a:pPr marL="0" marR="0">
              <a:spcBef>
                <a:spcPts val="0"/>
              </a:spcBef>
              <a:spcAft>
                <a:spcPts val="0"/>
              </a:spcAft>
            </a:pPr>
            <a:r>
              <a:rPr lang="en-IN" sz="900" i="1" dirty="0">
                <a:solidFill>
                  <a:srgbClr val="000000"/>
                </a:solidFill>
                <a:latin typeface="Calibri" panose="020F0502020204030204" pitchFamily="34" charset="0"/>
                <a:ea typeface="Calibri" panose="020F0502020204030204" pitchFamily="34" charset="0"/>
              </a:rPr>
              <a:t>*Performance data is post management fee and expenses </a:t>
            </a:r>
            <a:endParaRPr lang="en-IN" sz="900" i="1" dirty="0">
              <a:solidFill>
                <a:srgbClr val="000000"/>
              </a:solidFill>
              <a:latin typeface="Calibri" panose="020F0502020204030204" pitchFamily="34" charset="0"/>
              <a:ea typeface="Calibri" panose="020F0502020204030204" pitchFamily="34" charset="0"/>
            </a:endParaRPr>
          </a:p>
        </p:txBody>
      </p:sp>
      <p:graphicFrame>
        <p:nvGraphicFramePr>
          <p:cNvPr id="5" name="Table 4"/>
          <p:cNvGraphicFramePr>
            <a:graphicFrameLocks noGrp="1"/>
          </p:cNvGraphicFramePr>
          <p:nvPr/>
        </p:nvGraphicFramePr>
        <p:xfrm>
          <a:off x="175583" y="898353"/>
          <a:ext cx="7996914" cy="1169328"/>
        </p:xfrm>
        <a:graphic>
          <a:graphicData uri="http://schemas.openxmlformats.org/drawingml/2006/table">
            <a:tbl>
              <a:tblPr/>
              <a:tblGrid>
                <a:gridCol w="3330022"/>
                <a:gridCol w="1166723"/>
                <a:gridCol w="1166723"/>
                <a:gridCol w="1166723"/>
                <a:gridCol w="1166723"/>
              </a:tblGrid>
              <a:tr h="292332">
                <a:tc>
                  <a:txBody>
                    <a:bodyPr/>
                    <a:lstStyle/>
                    <a:p>
                      <a:pPr algn="ctr" rtl="0" fontAlgn="ctr"/>
                      <a:r>
                        <a:rPr lang="en-US" sz="1100" b="1" i="0" u="none" strike="noStrike" dirty="0">
                          <a:solidFill>
                            <a:srgbClr val="000000"/>
                          </a:solidFill>
                          <a:effectLst/>
                          <a:latin typeface="Calibri" panose="020F0502020204030204" pitchFamily="34" charset="0"/>
                        </a:rPr>
                        <a:t>As on 31</a:t>
                      </a:r>
                      <a:r>
                        <a:rPr lang="en-US" sz="1100" b="1" i="0" u="none" strike="noStrike" baseline="30000" dirty="0">
                          <a:solidFill>
                            <a:srgbClr val="000000"/>
                          </a:solidFill>
                          <a:effectLst/>
                          <a:latin typeface="Calibri" panose="020F0502020204030204" pitchFamily="34" charset="0"/>
                        </a:rPr>
                        <a:t>st</a:t>
                      </a:r>
                      <a:r>
                        <a:rPr lang="en-US" sz="1100" b="1" i="0" u="none" strike="noStrike" dirty="0">
                          <a:solidFill>
                            <a:srgbClr val="000000"/>
                          </a:solidFill>
                          <a:effectLst/>
                          <a:latin typeface="Calibri" panose="020F0502020204030204" pitchFamily="34" charset="0"/>
                        </a:rPr>
                        <a:t> May’25</a:t>
                      </a:r>
                      <a:endParaRPr lang="en-US" sz="110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100" b="1" i="0" u="none" strike="noStrike" dirty="0">
                          <a:solidFill>
                            <a:srgbClr val="000000"/>
                          </a:solidFill>
                          <a:effectLst/>
                          <a:latin typeface="Calibri" panose="020F0502020204030204" pitchFamily="34" charset="0"/>
                        </a:rPr>
                        <a:t>1M</a:t>
                      </a:r>
                      <a:endParaRPr lang="en-US" sz="110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100" b="1" i="0" u="none" strike="noStrike">
                          <a:solidFill>
                            <a:srgbClr val="000000"/>
                          </a:solidFill>
                          <a:effectLst/>
                          <a:latin typeface="Calibri" panose="020F0502020204030204" pitchFamily="34" charset="0"/>
                        </a:rPr>
                        <a:t>3M</a:t>
                      </a:r>
                      <a:endParaRPr lang="en-US" sz="1100" b="1"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100" b="1" i="0" u="none" strike="noStrike" dirty="0">
                          <a:solidFill>
                            <a:srgbClr val="000000"/>
                          </a:solidFill>
                          <a:effectLst/>
                          <a:latin typeface="Calibri" panose="020F0502020204030204" pitchFamily="34" charset="0"/>
                        </a:rPr>
                        <a:t>6M</a:t>
                      </a:r>
                      <a:endParaRPr lang="en-US" sz="110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100" b="1" i="0" u="none" strike="noStrike" dirty="0">
                          <a:solidFill>
                            <a:srgbClr val="000000"/>
                          </a:solidFill>
                          <a:effectLst/>
                          <a:latin typeface="Calibri" panose="020F0502020204030204" pitchFamily="34" charset="0"/>
                        </a:rPr>
                        <a:t>1 Yr</a:t>
                      </a:r>
                      <a:endParaRPr lang="en-US" sz="110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292332">
                <a:tc>
                  <a:txBody>
                    <a:bodyPr/>
                    <a:lstStyle/>
                    <a:p>
                      <a:pPr algn="ctr" rtl="0" fontAlgn="ctr"/>
                      <a:r>
                        <a:rPr lang="en-US" sz="1100" b="0" i="0" u="none" strike="noStrike" dirty="0">
                          <a:solidFill>
                            <a:srgbClr val="000000"/>
                          </a:solidFill>
                          <a:effectLst/>
                          <a:latin typeface="Calibri" panose="020F0502020204030204" pitchFamily="34" charset="0"/>
                        </a:rPr>
                        <a:t>CA Multi-manager Portfolio*</a:t>
                      </a:r>
                      <a:endParaRPr lang="en-US" sz="110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100" b="0" i="0" u="none" strike="noStrike">
                          <a:solidFill>
                            <a:srgbClr val="000000"/>
                          </a:solidFill>
                          <a:effectLst/>
                          <a:latin typeface="Calibri" panose="020F0502020204030204" pitchFamily="34" charset="0"/>
                        </a:rPr>
                        <a:t>2.47%</a:t>
                      </a:r>
                      <a:endParaRPr lang="en-GB" sz="110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100" b="0" i="0" u="none" strike="noStrike">
                          <a:solidFill>
                            <a:srgbClr val="000000"/>
                          </a:solidFill>
                          <a:effectLst/>
                          <a:latin typeface="Calibri" panose="020F0502020204030204" pitchFamily="34" charset="0"/>
                        </a:rPr>
                        <a:t>11.35%</a:t>
                      </a:r>
                      <a:endParaRPr lang="en-GB" sz="110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100" b="0" i="0" u="none" strike="noStrike">
                          <a:solidFill>
                            <a:srgbClr val="000000"/>
                          </a:solidFill>
                          <a:effectLst/>
                          <a:latin typeface="Calibri" panose="020F0502020204030204" pitchFamily="34" charset="0"/>
                        </a:rPr>
                        <a:t>0.33%</a:t>
                      </a:r>
                      <a:endParaRPr lang="en-GB" sz="110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100" b="0" i="0" u="none" strike="noStrike">
                          <a:solidFill>
                            <a:srgbClr val="000000"/>
                          </a:solidFill>
                          <a:effectLst/>
                          <a:latin typeface="Calibri" panose="020F0502020204030204" pitchFamily="34" charset="0"/>
                        </a:rPr>
                        <a:t>10.79%</a:t>
                      </a:r>
                      <a:endParaRPr lang="en-GB" sz="110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2332">
                <a:tc>
                  <a:txBody>
                    <a:bodyPr/>
                    <a:lstStyle/>
                    <a:p>
                      <a:pPr algn="ctr" rtl="0" fontAlgn="ctr"/>
                      <a:r>
                        <a:rPr lang="en-US" sz="1100" b="0" i="0" u="none" strike="noStrike" dirty="0">
                          <a:solidFill>
                            <a:srgbClr val="000000"/>
                          </a:solidFill>
                          <a:effectLst/>
                          <a:latin typeface="Calibri" panose="020F0502020204030204" pitchFamily="34" charset="0"/>
                        </a:rPr>
                        <a:t>BSE 500 TRI</a:t>
                      </a:r>
                      <a:endParaRPr lang="en-US" sz="110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100" b="0" i="0" u="none" strike="noStrike">
                          <a:solidFill>
                            <a:srgbClr val="000000"/>
                          </a:solidFill>
                          <a:effectLst/>
                          <a:latin typeface="Calibri" panose="020F0502020204030204" pitchFamily="34" charset="0"/>
                        </a:rPr>
                        <a:t>3.54%</a:t>
                      </a:r>
                      <a:endParaRPr lang="en-GB" sz="110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100" b="0" i="0" u="none" strike="noStrike">
                          <a:solidFill>
                            <a:srgbClr val="000000"/>
                          </a:solidFill>
                          <a:effectLst/>
                          <a:latin typeface="Calibri" panose="020F0502020204030204" pitchFamily="34" charset="0"/>
                        </a:rPr>
                        <a:t>14.65%</a:t>
                      </a:r>
                      <a:endParaRPr lang="en-GB" sz="110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100" b="0" i="0" u="none" strike="noStrike">
                          <a:solidFill>
                            <a:srgbClr val="000000"/>
                          </a:solidFill>
                          <a:effectLst/>
                          <a:latin typeface="Calibri" panose="020F0502020204030204" pitchFamily="34" charset="0"/>
                        </a:rPr>
                        <a:t>0.62%</a:t>
                      </a:r>
                      <a:endParaRPr lang="en-GB" sz="110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100" b="0" i="0" u="none" strike="noStrike">
                          <a:solidFill>
                            <a:srgbClr val="000000"/>
                          </a:solidFill>
                          <a:effectLst/>
                          <a:latin typeface="Calibri" panose="020F0502020204030204" pitchFamily="34" charset="0"/>
                        </a:rPr>
                        <a:t>8.54%</a:t>
                      </a:r>
                      <a:endParaRPr lang="en-GB" sz="110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2332">
                <a:tc>
                  <a:txBody>
                    <a:bodyPr/>
                    <a:lstStyle/>
                    <a:p>
                      <a:pPr algn="ctr" rtl="0" fontAlgn="ctr"/>
                      <a:r>
                        <a:rPr lang="en-US" sz="1100" b="0" i="0" u="none" strike="noStrike" dirty="0">
                          <a:solidFill>
                            <a:srgbClr val="000000"/>
                          </a:solidFill>
                          <a:effectLst/>
                          <a:latin typeface="Calibri" panose="020F0502020204030204" pitchFamily="34" charset="0"/>
                        </a:rPr>
                        <a:t>BSE Sensex TRI</a:t>
                      </a:r>
                      <a:endParaRPr lang="en-US" sz="110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100" b="0" i="0" u="none" strike="noStrike">
                          <a:solidFill>
                            <a:srgbClr val="000000"/>
                          </a:solidFill>
                          <a:effectLst/>
                          <a:latin typeface="Calibri" panose="020F0502020204030204" pitchFamily="34" charset="0"/>
                        </a:rPr>
                        <a:t>1.75%</a:t>
                      </a:r>
                      <a:endParaRPr lang="en-GB" sz="110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100" b="0" i="0" u="none" strike="noStrike">
                          <a:solidFill>
                            <a:srgbClr val="000000"/>
                          </a:solidFill>
                          <a:effectLst/>
                          <a:latin typeface="Calibri" panose="020F0502020204030204" pitchFamily="34" charset="0"/>
                        </a:rPr>
                        <a:t>11.56%</a:t>
                      </a:r>
                      <a:endParaRPr lang="en-GB" sz="110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100" b="0" i="0" u="none" strike="noStrike">
                          <a:solidFill>
                            <a:srgbClr val="000000"/>
                          </a:solidFill>
                          <a:effectLst/>
                          <a:latin typeface="Calibri" panose="020F0502020204030204" pitchFamily="34" charset="0"/>
                        </a:rPr>
                        <a:t>2.47%</a:t>
                      </a:r>
                      <a:endParaRPr lang="en-GB" sz="110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100" b="0" i="0" u="none" strike="noStrike" dirty="0">
                          <a:solidFill>
                            <a:srgbClr val="000000"/>
                          </a:solidFill>
                          <a:effectLst/>
                          <a:latin typeface="Calibri" panose="020F0502020204030204" pitchFamily="34" charset="0"/>
                        </a:rPr>
                        <a:t>11.33%</a:t>
                      </a:r>
                      <a:endParaRPr lang="en-GB" sz="110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4" name="Table 3"/>
          <p:cNvGraphicFramePr>
            <a:graphicFrameLocks noGrp="1"/>
          </p:cNvGraphicFramePr>
          <p:nvPr/>
        </p:nvGraphicFramePr>
        <p:xfrm>
          <a:off x="175583" y="2213768"/>
          <a:ext cx="7996914" cy="2302251"/>
        </p:xfrm>
        <a:graphic>
          <a:graphicData uri="http://schemas.openxmlformats.org/drawingml/2006/table">
            <a:tbl>
              <a:tblPr/>
              <a:tblGrid>
                <a:gridCol w="3892347"/>
                <a:gridCol w="2088290"/>
                <a:gridCol w="2016277"/>
              </a:tblGrid>
              <a:tr h="328893">
                <a:tc>
                  <a:txBody>
                    <a:bodyPr/>
                    <a:lstStyle/>
                    <a:p>
                      <a:pPr algn="ctr" fontAlgn="ctr"/>
                      <a:r>
                        <a:rPr lang="en-US" sz="1050" b="1" i="0" u="none" strike="noStrike" dirty="0">
                          <a:solidFill>
                            <a:srgbClr val="000000"/>
                          </a:solidFill>
                          <a:effectLst/>
                          <a:latin typeface="Calibri" panose="020F0502020204030204" pitchFamily="34" charset="0"/>
                        </a:rPr>
                        <a:t>Current MMP Portfolio</a:t>
                      </a:r>
                      <a:endParaRPr lang="en-US" sz="105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50" b="1" i="0" u="none" strike="noStrike">
                          <a:solidFill>
                            <a:srgbClr val="000000"/>
                          </a:solidFill>
                          <a:effectLst/>
                          <a:latin typeface="Calibri" panose="020F0502020204030204" pitchFamily="34" charset="0"/>
                        </a:rPr>
                        <a:t>Weights (%)</a:t>
                      </a:r>
                      <a:endParaRPr lang="en-US" sz="1050" b="1"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50" b="1" i="0" u="none" strike="noStrike" dirty="0">
                          <a:solidFill>
                            <a:srgbClr val="000000"/>
                          </a:solidFill>
                          <a:effectLst/>
                          <a:latin typeface="Calibri" panose="020F0502020204030204" pitchFamily="34" charset="0"/>
                        </a:rPr>
                        <a:t>May’25 Performance</a:t>
                      </a:r>
                      <a:endParaRPr lang="en-US" sz="105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328893">
                <a:tc>
                  <a:txBody>
                    <a:bodyPr/>
                    <a:lstStyle/>
                    <a:p>
                      <a:pPr marL="0" marR="0" lvl="0" indent="0" algn="ctr" defTabSz="914400" rtl="0" eaLnBrk="1" fontAlgn="ctr" latinLnBrk="1" hangingPunct="1">
                        <a:lnSpc>
                          <a:spcPct val="100000"/>
                        </a:lnSpc>
                        <a:spcBef>
                          <a:spcPts val="0"/>
                        </a:spcBef>
                        <a:spcAft>
                          <a:spcPts val="0"/>
                        </a:spcAft>
                        <a:buClrTx/>
                        <a:buSzTx/>
                        <a:buFontTx/>
                        <a:buNone/>
                        <a:defRPr/>
                      </a:pPr>
                      <a:r>
                        <a:rPr lang="en-GB" sz="1050" b="0" i="0" u="none" strike="noStrike" dirty="0">
                          <a:solidFill>
                            <a:srgbClr val="000000"/>
                          </a:solidFill>
                          <a:effectLst/>
                          <a:latin typeface="Calibri" panose="020F0502020204030204" pitchFamily="34" charset="0"/>
                        </a:rPr>
                        <a:t>Canara Robeco Emerging Equities </a:t>
                      </a:r>
                      <a:endParaRPr lang="en-GB" sz="105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050" b="0" i="0" u="none" strike="noStrike">
                          <a:solidFill>
                            <a:srgbClr val="000000"/>
                          </a:solidFill>
                          <a:effectLst/>
                          <a:latin typeface="Calibri" panose="020F0502020204030204" pitchFamily="34" charset="0"/>
                        </a:rPr>
                        <a:t>20.00%</a:t>
                      </a:r>
                      <a:endParaRPr lang="en-GB" sz="105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050" b="0" i="0" u="none" strike="noStrike">
                          <a:solidFill>
                            <a:srgbClr val="000000"/>
                          </a:solidFill>
                          <a:effectLst/>
                          <a:latin typeface="Calibri" panose="020F0502020204030204" pitchFamily="34" charset="0"/>
                        </a:rPr>
                        <a:t>4.38%</a:t>
                      </a:r>
                      <a:endParaRPr lang="en-GB" sz="105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8893">
                <a:tc>
                  <a:txBody>
                    <a:bodyPr/>
                    <a:lstStyle/>
                    <a:p>
                      <a:pPr algn="ctr" rtl="0" fontAlgn="ctr"/>
                      <a:r>
                        <a:rPr lang="en-GB" sz="1050" b="0" i="0" u="none" strike="noStrike" dirty="0">
                          <a:solidFill>
                            <a:srgbClr val="000000"/>
                          </a:solidFill>
                          <a:effectLst/>
                          <a:latin typeface="Calibri" panose="020F0502020204030204" pitchFamily="34" charset="0"/>
                        </a:rPr>
                        <a:t>Parag Parikh Flexi Cap</a:t>
                      </a:r>
                      <a:endParaRPr lang="en-GB" sz="105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050" b="0" i="0" u="none" strike="noStrike" dirty="0">
                          <a:solidFill>
                            <a:srgbClr val="000000"/>
                          </a:solidFill>
                          <a:effectLst/>
                          <a:latin typeface="Calibri" panose="020F0502020204030204" pitchFamily="34" charset="0"/>
                        </a:rPr>
                        <a:t>20.00%</a:t>
                      </a:r>
                      <a:endParaRPr lang="en-GB" sz="105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050" b="0" i="0" u="none" strike="noStrike">
                          <a:solidFill>
                            <a:srgbClr val="000000"/>
                          </a:solidFill>
                          <a:effectLst/>
                          <a:latin typeface="Calibri" panose="020F0502020204030204" pitchFamily="34" charset="0"/>
                        </a:rPr>
                        <a:t>2.71%</a:t>
                      </a:r>
                      <a:endParaRPr lang="en-GB" sz="105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8893">
                <a:tc>
                  <a:txBody>
                    <a:bodyPr/>
                    <a:lstStyle/>
                    <a:p>
                      <a:pPr algn="ctr" rtl="0" fontAlgn="ctr"/>
                      <a:r>
                        <a:rPr lang="en-US" sz="1050" b="0" i="0" u="none" strike="noStrike" dirty="0">
                          <a:solidFill>
                            <a:srgbClr val="000000"/>
                          </a:solidFill>
                          <a:effectLst/>
                          <a:latin typeface="Calibri" panose="020F0502020204030204" pitchFamily="34" charset="0"/>
                        </a:rPr>
                        <a:t>White Oak Flexi Cap</a:t>
                      </a:r>
                      <a:endParaRPr lang="en-GB" sz="105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050" b="0" i="0" u="none" strike="noStrike" dirty="0">
                          <a:solidFill>
                            <a:srgbClr val="000000"/>
                          </a:solidFill>
                          <a:effectLst/>
                          <a:latin typeface="Calibri" panose="020F0502020204030204" pitchFamily="34" charset="0"/>
                        </a:rPr>
                        <a:t>20.00%</a:t>
                      </a:r>
                      <a:endParaRPr lang="en-GB" sz="105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050" b="0" i="0" u="none" strike="noStrike">
                          <a:solidFill>
                            <a:srgbClr val="000000"/>
                          </a:solidFill>
                          <a:effectLst/>
                          <a:latin typeface="Calibri" panose="020F0502020204030204" pitchFamily="34" charset="0"/>
                        </a:rPr>
                        <a:t>3.92%</a:t>
                      </a:r>
                      <a:endParaRPr lang="en-GB" sz="105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8893">
                <a:tc>
                  <a:txBody>
                    <a:bodyPr/>
                    <a:lstStyle/>
                    <a:p>
                      <a:pPr algn="ctr" rtl="0" fontAlgn="ctr"/>
                      <a:r>
                        <a:rPr lang="en-US" sz="1050" b="0" i="0" u="none" strike="noStrike" dirty="0">
                          <a:solidFill>
                            <a:srgbClr val="000000"/>
                          </a:solidFill>
                          <a:effectLst/>
                          <a:latin typeface="Calibri" panose="020F0502020204030204" pitchFamily="34" charset="0"/>
                        </a:rPr>
                        <a:t>Nippon India Large Cap</a:t>
                      </a:r>
                      <a:endParaRPr lang="en-GB" sz="105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050" b="0" i="0" u="none" strike="noStrike" dirty="0">
                          <a:solidFill>
                            <a:srgbClr val="000000"/>
                          </a:solidFill>
                          <a:effectLst/>
                          <a:latin typeface="Calibri" panose="020F0502020204030204" pitchFamily="34" charset="0"/>
                        </a:rPr>
                        <a:t>10.00%</a:t>
                      </a:r>
                      <a:endParaRPr lang="en-GB" sz="105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050" b="0" i="0" u="none" strike="noStrike">
                          <a:solidFill>
                            <a:srgbClr val="000000"/>
                          </a:solidFill>
                          <a:effectLst/>
                          <a:latin typeface="Calibri" panose="020F0502020204030204" pitchFamily="34" charset="0"/>
                        </a:rPr>
                        <a:t>3.49%</a:t>
                      </a:r>
                      <a:endParaRPr lang="en-GB" sz="105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8893">
                <a:tc>
                  <a:txBody>
                    <a:bodyPr/>
                    <a:lstStyle/>
                    <a:p>
                      <a:pPr algn="ctr" rtl="0" fontAlgn="ctr"/>
                      <a:r>
                        <a:rPr lang="en-GB" sz="1050" b="0" i="0" u="none" strike="noStrike" dirty="0">
                          <a:solidFill>
                            <a:srgbClr val="000000"/>
                          </a:solidFill>
                          <a:effectLst/>
                          <a:latin typeface="Calibri" panose="020F0502020204030204" pitchFamily="34" charset="0"/>
                        </a:rPr>
                        <a:t>SBI Sensex ETF</a:t>
                      </a:r>
                      <a:endParaRPr lang="en-GB" sz="105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050" b="0" i="0" u="none" strike="noStrike">
                          <a:solidFill>
                            <a:srgbClr val="000000"/>
                          </a:solidFill>
                          <a:effectLst/>
                          <a:latin typeface="Calibri" panose="020F0502020204030204" pitchFamily="34" charset="0"/>
                        </a:rPr>
                        <a:t>20.00%</a:t>
                      </a:r>
                      <a:endParaRPr lang="en-GB" sz="105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050" b="0" i="0" u="none" strike="noStrike">
                          <a:solidFill>
                            <a:srgbClr val="000000"/>
                          </a:solidFill>
                          <a:effectLst/>
                          <a:latin typeface="Calibri" panose="020F0502020204030204" pitchFamily="34" charset="0"/>
                        </a:rPr>
                        <a:t>1.74%</a:t>
                      </a:r>
                      <a:endParaRPr lang="en-GB" sz="105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8893">
                <a:tc>
                  <a:txBody>
                    <a:bodyPr/>
                    <a:lstStyle/>
                    <a:p>
                      <a:pPr algn="ctr" rtl="0" fontAlgn="ctr"/>
                      <a:r>
                        <a:rPr lang="en-US" sz="1050" b="0" i="0" u="none" strike="noStrike" dirty="0">
                          <a:solidFill>
                            <a:srgbClr val="000000"/>
                          </a:solidFill>
                          <a:effectLst/>
                          <a:latin typeface="Calibri" panose="020F0502020204030204" pitchFamily="34" charset="0"/>
                        </a:rPr>
                        <a:t>Nippon India Nifty </a:t>
                      </a:r>
                      <a:r>
                        <a:rPr lang="en-US" sz="1050" b="0" i="0" u="none" strike="noStrike" dirty="0" err="1">
                          <a:solidFill>
                            <a:srgbClr val="000000"/>
                          </a:solidFill>
                          <a:effectLst/>
                          <a:latin typeface="Calibri" panose="020F0502020204030204" pitchFamily="34" charset="0"/>
                        </a:rPr>
                        <a:t>BeES</a:t>
                      </a:r>
                      <a:r>
                        <a:rPr lang="en-US" sz="1050" b="0" i="0" u="none" strike="noStrike" dirty="0">
                          <a:solidFill>
                            <a:srgbClr val="000000"/>
                          </a:solidFill>
                          <a:effectLst/>
                          <a:latin typeface="Calibri" panose="020F0502020204030204" pitchFamily="34" charset="0"/>
                        </a:rPr>
                        <a:t> ETF</a:t>
                      </a:r>
                      <a:endParaRPr lang="en-US" sz="105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050" b="0" i="0" u="none" strike="noStrike">
                          <a:solidFill>
                            <a:srgbClr val="000000"/>
                          </a:solidFill>
                          <a:effectLst/>
                          <a:latin typeface="Calibri" panose="020F0502020204030204" pitchFamily="34" charset="0"/>
                        </a:rPr>
                        <a:t>10.00%</a:t>
                      </a:r>
                      <a:endParaRPr lang="en-GB" sz="105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1050" b="0" i="0" u="none" strike="noStrike" dirty="0">
                          <a:solidFill>
                            <a:srgbClr val="000000"/>
                          </a:solidFill>
                          <a:effectLst/>
                          <a:latin typeface="Calibri" panose="020F0502020204030204" pitchFamily="34" charset="0"/>
                        </a:rPr>
                        <a:t>1.92%</a:t>
                      </a:r>
                      <a:endParaRPr lang="en-GB" sz="105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0"/>
          <p:cNvSpPr txBox="1"/>
          <p:nvPr/>
        </p:nvSpPr>
        <p:spPr>
          <a:xfrm>
            <a:off x="268512" y="220710"/>
            <a:ext cx="6643663" cy="374713"/>
          </a:xfrm>
          <a:prstGeom prst="rect">
            <a:avLst/>
          </a:prstGeom>
        </p:spPr>
        <p:txBody>
          <a:bodyPr lIns="0" tIns="0" rIns="0" bIns="0"/>
          <a:lstStyle/>
          <a:p>
            <a:pPr>
              <a:lnSpc>
                <a:spcPts val="2700"/>
              </a:lnSpc>
              <a:defRPr/>
            </a:pPr>
            <a:r>
              <a:rPr lang="en-IN" sz="1400" b="1" dirty="0">
                <a:ln>
                  <a:solidFill>
                    <a:schemeClr val="accent2"/>
                  </a:solidFill>
                </a:ln>
                <a:latin typeface="Calibri" panose="020F0502020204030204" pitchFamily="34" charset="0"/>
                <a:cs typeface="Calibri" panose="020F0502020204030204" pitchFamily="34" charset="0"/>
              </a:rPr>
              <a:t> </a:t>
            </a:r>
            <a:r>
              <a:rPr lang="en-IN" sz="1400" dirty="0">
                <a:ln>
                  <a:solidFill>
                    <a:sysClr val="windowText" lastClr="000000"/>
                  </a:solidFill>
                </a:ln>
                <a:solidFill>
                  <a:sysClr val="windowText" lastClr="000000"/>
                </a:solidFill>
                <a:latin typeface="Calibri" panose="020F0502020204030204" pitchFamily="34" charset="0"/>
                <a:cs typeface="Calibri" panose="020F0502020204030204" pitchFamily="34" charset="0"/>
              </a:rPr>
              <a:t>Canara Robeco Emerging Equities</a:t>
            </a:r>
            <a:endParaRPr lang="en-US" sz="1400" dirty="0">
              <a:solidFill>
                <a:schemeClr val="tx1">
                  <a:lumMod val="85000"/>
                  <a:lumOff val="15000"/>
                </a:schemeClr>
              </a:solidFill>
              <a:latin typeface="Calibri" panose="020F0502020204030204" pitchFamily="34" charset="0"/>
              <a:ea typeface="+mj-ea"/>
              <a:cs typeface="Calibri" panose="020F0502020204030204" pitchFamily="34" charset="0"/>
            </a:endParaRPr>
          </a:p>
        </p:txBody>
      </p:sp>
      <p:graphicFrame>
        <p:nvGraphicFramePr>
          <p:cNvPr id="3" name="Table 2"/>
          <p:cNvGraphicFramePr>
            <a:graphicFrameLocks noGrp="1"/>
          </p:cNvGraphicFramePr>
          <p:nvPr/>
        </p:nvGraphicFramePr>
        <p:xfrm>
          <a:off x="179390" y="837075"/>
          <a:ext cx="2301875" cy="1953260"/>
        </p:xfrm>
        <a:graphic>
          <a:graphicData uri="http://schemas.openxmlformats.org/drawingml/2006/table">
            <a:tbl>
              <a:tblPr/>
              <a:tblGrid>
                <a:gridCol w="1138237"/>
                <a:gridCol w="1163637"/>
              </a:tblGrid>
              <a:tr h="282789">
                <a:tc gridSpan="2">
                  <a:txBody>
                    <a:bodyPr/>
                    <a:lstStyle/>
                    <a:p>
                      <a:pPr algn="ctr" rtl="0" fontAlgn="ctr"/>
                      <a:r>
                        <a:rPr lang="en-US" sz="900" b="1" i="0" u="none" strike="noStrike" dirty="0">
                          <a:solidFill>
                            <a:srgbClr val="000000"/>
                          </a:solidFill>
                          <a:effectLst/>
                          <a:latin typeface="Calibri" panose="020F0502020204030204" pitchFamily="34" charset="0"/>
                        </a:rPr>
                        <a:t>Key Detail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56540">
                <a:tc>
                  <a:txBody>
                    <a:bodyPr/>
                    <a:lstStyle/>
                    <a:p>
                      <a:pPr algn="ctr" rtl="0" fontAlgn="ctr"/>
                      <a:r>
                        <a:rPr lang="en-GB" sz="900" b="0" i="0" u="none" strike="noStrike">
                          <a:solidFill>
                            <a:srgbClr val="000000"/>
                          </a:solidFill>
                          <a:effectLst/>
                          <a:latin typeface="Calibri" panose="020F0502020204030204" pitchFamily="34" charset="0"/>
                        </a:rPr>
                        <a:t>Inception</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Mar-0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82789">
                <a:tc>
                  <a:txBody>
                    <a:bodyPr/>
                    <a:lstStyle/>
                    <a:p>
                      <a:pPr algn="ctr" rtl="0" fontAlgn="ctr"/>
                      <a:r>
                        <a:rPr lang="en-GB" sz="900" b="0" i="0" u="none" strike="noStrike">
                          <a:solidFill>
                            <a:srgbClr val="000000"/>
                          </a:solidFill>
                          <a:effectLst/>
                          <a:latin typeface="Calibri" panose="020F0502020204030204" pitchFamily="34" charset="0"/>
                        </a:rPr>
                        <a:t>Categor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Large -Mid</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82789">
                <a:tc>
                  <a:txBody>
                    <a:bodyPr/>
                    <a:lstStyle/>
                    <a:p>
                      <a:pPr algn="ctr" rtl="0" fontAlgn="ctr"/>
                      <a:r>
                        <a:rPr lang="en-GB" sz="900" b="0" i="0" u="none" strike="noStrike">
                          <a:solidFill>
                            <a:srgbClr val="000000"/>
                          </a:solidFill>
                          <a:effectLst/>
                          <a:latin typeface="Calibri" panose="020F0502020204030204" pitchFamily="34" charset="0"/>
                        </a:rPr>
                        <a:t>AUM (Rs Cror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5,09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82789">
                <a:tc>
                  <a:txBody>
                    <a:bodyPr/>
                    <a:lstStyle/>
                    <a:p>
                      <a:pPr algn="ctr" rtl="0" fontAlgn="ctr"/>
                      <a:r>
                        <a:rPr lang="en-GB" sz="900" b="0" i="0" u="none" strike="noStrike">
                          <a:solidFill>
                            <a:srgbClr val="000000"/>
                          </a:solidFill>
                          <a:effectLst/>
                          <a:latin typeface="Calibri" panose="020F0502020204030204" pitchFamily="34" charset="0"/>
                        </a:rPr>
                        <a:t>Benchmar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810" b="0" i="0" u="none" strike="noStrike">
                          <a:solidFill>
                            <a:srgbClr val="000000"/>
                          </a:solidFill>
                          <a:effectLst/>
                          <a:latin typeface="Calibri" panose="020F0502020204030204" pitchFamily="34" charset="0"/>
                        </a:rPr>
                        <a:t>Nifty Large Midcap 250 TRI</a:t>
                      </a:r>
                      <a:endParaRPr lang="en-US" sz="81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82789">
                <a:tc>
                  <a:txBody>
                    <a:bodyPr/>
                    <a:lstStyle/>
                    <a:p>
                      <a:pPr algn="ctr" rtl="0" fontAlgn="ctr"/>
                      <a:r>
                        <a:rPr lang="en-GB" sz="900" b="0" i="0" u="none" strike="noStrike">
                          <a:solidFill>
                            <a:srgbClr val="000000"/>
                          </a:solidFill>
                          <a:effectLst/>
                          <a:latin typeface="Calibri" panose="020F0502020204030204" pitchFamily="34" charset="0"/>
                        </a:rPr>
                        <a:t>Fund Manager</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Shridatta Bhandwaldar</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82789">
                <a:tc>
                  <a:txBody>
                    <a:bodyPr/>
                    <a:lstStyle/>
                    <a:p>
                      <a:pPr algn="ctr" rtl="0" fontAlgn="ctr"/>
                      <a:r>
                        <a:rPr lang="en-GB" sz="900" b="0" i="0" u="none" strike="noStrike" dirty="0">
                          <a:solidFill>
                            <a:srgbClr val="000000"/>
                          </a:solidFill>
                          <a:effectLst/>
                          <a:latin typeface="Calibri" panose="020F0502020204030204" pitchFamily="34" charset="0"/>
                        </a:rPr>
                        <a:t>Expense Ratio</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0.56%</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5" name="Table 4"/>
          <p:cNvGraphicFramePr>
            <a:graphicFrameLocks noGrp="1"/>
          </p:cNvGraphicFramePr>
          <p:nvPr/>
        </p:nvGraphicFramePr>
        <p:xfrm>
          <a:off x="2593558" y="828182"/>
          <a:ext cx="2244724" cy="1979522"/>
        </p:xfrm>
        <a:graphic>
          <a:graphicData uri="http://schemas.openxmlformats.org/drawingml/2006/table">
            <a:tbl>
              <a:tblPr/>
              <a:tblGrid>
                <a:gridCol w="1328737"/>
                <a:gridCol w="915987"/>
              </a:tblGrid>
              <a:tr h="280489">
                <a:tc gridSpan="2">
                  <a:txBody>
                    <a:bodyPr/>
                    <a:lstStyle/>
                    <a:p>
                      <a:pPr algn="ctr" rtl="0" fontAlgn="ctr"/>
                      <a:r>
                        <a:rPr lang="en-US" sz="900" b="1" i="0" u="none" strike="noStrike" dirty="0">
                          <a:solidFill>
                            <a:srgbClr val="000000"/>
                          </a:solidFill>
                          <a:effectLst/>
                          <a:latin typeface="Calibri" panose="020F0502020204030204" pitchFamily="34" charset="0"/>
                        </a:rPr>
                        <a:t>Portfolio Aggregate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42719">
                <a:tc>
                  <a:txBody>
                    <a:bodyPr/>
                    <a:lstStyle/>
                    <a:p>
                      <a:pPr algn="ctr" rtl="0" fontAlgn="ctr"/>
                      <a:r>
                        <a:rPr lang="en-GB" sz="900" b="0" i="0" u="none" strike="noStrike">
                          <a:solidFill>
                            <a:srgbClr val="000000"/>
                          </a:solidFill>
                          <a:effectLst/>
                          <a:latin typeface="Calibri" panose="020F0502020204030204" pitchFamily="34" charset="0"/>
                        </a:rPr>
                        <a:t>No of Stock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0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Avg Mkt Cap (Rs Lac Cror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9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Investing Style </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GARP (Growth Tilt)</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Giant</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Large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Mid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Small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3%</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10" name="Table 9"/>
          <p:cNvGraphicFramePr>
            <a:graphicFrameLocks noGrp="1"/>
          </p:cNvGraphicFramePr>
          <p:nvPr/>
        </p:nvGraphicFramePr>
        <p:xfrm>
          <a:off x="4876797" y="837072"/>
          <a:ext cx="1783493" cy="1970634"/>
        </p:xfrm>
        <a:graphic>
          <a:graphicData uri="http://schemas.openxmlformats.org/drawingml/2006/table">
            <a:tbl>
              <a:tblPr/>
              <a:tblGrid>
                <a:gridCol w="770538"/>
                <a:gridCol w="1012955"/>
              </a:tblGrid>
              <a:tr h="328439">
                <a:tc gridSpan="2">
                  <a:txBody>
                    <a:bodyPr/>
                    <a:lstStyle/>
                    <a:p>
                      <a:pPr algn="ctr" rtl="0" fontAlgn="ctr"/>
                      <a:r>
                        <a:rPr lang="en-US" sz="900" b="1" i="0" u="none" strike="noStrike" dirty="0">
                          <a:solidFill>
                            <a:srgbClr val="000000"/>
                          </a:solidFill>
                          <a:effectLst/>
                          <a:latin typeface="Calibri" panose="020F0502020204030204" pitchFamily="34" charset="0"/>
                        </a:rPr>
                        <a:t>Portfolio Concentration &amp; Metric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328439">
                <a:tc>
                  <a:txBody>
                    <a:bodyPr/>
                    <a:lstStyle/>
                    <a:p>
                      <a:pPr algn="ctr" rtl="0" fontAlgn="ctr"/>
                      <a:r>
                        <a:rPr lang="en-GB" sz="900" b="0" i="0" u="none" strike="noStrike">
                          <a:solidFill>
                            <a:srgbClr val="000000"/>
                          </a:solidFill>
                          <a:effectLst/>
                          <a:latin typeface="Calibri" panose="020F0502020204030204" pitchFamily="34" charset="0"/>
                        </a:rPr>
                        <a:t>Top 10 Stock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7.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8439">
                <a:tc>
                  <a:txBody>
                    <a:bodyPr/>
                    <a:lstStyle/>
                    <a:p>
                      <a:pPr algn="ctr" rtl="0" fontAlgn="ctr"/>
                      <a:r>
                        <a:rPr lang="en-GB" sz="900" b="0" i="0" u="none" strike="noStrike">
                          <a:solidFill>
                            <a:srgbClr val="000000"/>
                          </a:solidFill>
                          <a:effectLst/>
                          <a:latin typeface="Calibri" panose="020F0502020204030204" pitchFamily="34" charset="0"/>
                        </a:rPr>
                        <a:t>Top 5 Stock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2.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8439">
                <a:tc>
                  <a:txBody>
                    <a:bodyPr/>
                    <a:lstStyle/>
                    <a:p>
                      <a:pPr algn="ctr" rtl="0" fontAlgn="ctr"/>
                      <a:r>
                        <a:rPr lang="en-GB" sz="900" b="0" i="0" u="none" strike="noStrike">
                          <a:solidFill>
                            <a:srgbClr val="000000"/>
                          </a:solidFill>
                          <a:effectLst/>
                          <a:latin typeface="Calibri" panose="020F0502020204030204" pitchFamily="34" charset="0"/>
                        </a:rPr>
                        <a:t>Top 3 Sector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7.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8439">
                <a:tc>
                  <a:txBody>
                    <a:bodyPr/>
                    <a:lstStyle/>
                    <a:p>
                      <a:pPr algn="ctr" rtl="0" fontAlgn="ctr"/>
                      <a:r>
                        <a:rPr lang="en-GB" sz="900" b="0" i="0" u="none" strike="noStrike">
                          <a:solidFill>
                            <a:srgbClr val="000000"/>
                          </a:solidFill>
                          <a:effectLst/>
                          <a:latin typeface="Calibri" panose="020F0502020204030204" pitchFamily="34" charset="0"/>
                        </a:rPr>
                        <a:t>P/E Ratio</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8.5x</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8439">
                <a:tc>
                  <a:txBody>
                    <a:bodyPr/>
                    <a:lstStyle/>
                    <a:p>
                      <a:pPr algn="ctr" rtl="0" fontAlgn="ctr"/>
                      <a:r>
                        <a:rPr lang="en-GB" sz="900" b="0" i="0" u="none" strike="noStrike" dirty="0">
                          <a:solidFill>
                            <a:srgbClr val="000000"/>
                          </a:solidFill>
                          <a:effectLst/>
                          <a:latin typeface="Calibri" panose="020F0502020204030204" pitchFamily="34" charset="0"/>
                        </a:rPr>
                        <a:t>P/B Ratio</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6.2x</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1" name="Table 20"/>
          <p:cNvGraphicFramePr>
            <a:graphicFrameLocks noGrp="1"/>
          </p:cNvGraphicFramePr>
          <p:nvPr/>
        </p:nvGraphicFramePr>
        <p:xfrm>
          <a:off x="6873827" y="837073"/>
          <a:ext cx="2090823" cy="1970631"/>
        </p:xfrm>
        <a:graphic>
          <a:graphicData uri="http://schemas.openxmlformats.org/drawingml/2006/table">
            <a:tbl>
              <a:tblPr/>
              <a:tblGrid>
                <a:gridCol w="1149953"/>
                <a:gridCol w="940870"/>
              </a:tblGrid>
              <a:tr h="294477">
                <a:tc gridSpan="2">
                  <a:txBody>
                    <a:bodyPr/>
                    <a:lstStyle/>
                    <a:p>
                      <a:pPr algn="ctr" rtl="0" fontAlgn="ctr"/>
                      <a:r>
                        <a:rPr lang="en-US" sz="900" b="1" i="0" u="none" strike="noStrike" dirty="0">
                          <a:solidFill>
                            <a:srgbClr val="000000"/>
                          </a:solidFill>
                          <a:effectLst/>
                          <a:latin typeface="Calibri" panose="020F0502020204030204" pitchFamily="34" charset="0"/>
                        </a:rPr>
                        <a:t>Top Sectors </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79359">
                <a:tc>
                  <a:txBody>
                    <a:bodyPr/>
                    <a:lstStyle/>
                    <a:p>
                      <a:pPr algn="ctr" rtl="0" fontAlgn="ctr"/>
                      <a:r>
                        <a:rPr lang="en-GB" sz="900" b="0" i="0" u="none" strike="noStrike">
                          <a:solidFill>
                            <a:srgbClr val="000000"/>
                          </a:solidFill>
                          <a:effectLst/>
                          <a:latin typeface="Calibri" panose="020F0502020204030204" pitchFamily="34" charset="0"/>
                        </a:rPr>
                        <a:t>Consumer Discretionar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0.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Consumer Stapl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Diversified</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Energy &amp; Utiliti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Financial</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8.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Healthcare</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7.0%</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3" name="Table 22"/>
          <p:cNvGraphicFramePr>
            <a:graphicFrameLocks noGrp="1"/>
          </p:cNvGraphicFramePr>
          <p:nvPr/>
        </p:nvGraphicFramePr>
        <p:xfrm>
          <a:off x="203198" y="2884020"/>
          <a:ext cx="2641600" cy="2187207"/>
        </p:xfrm>
        <a:graphic>
          <a:graphicData uri="http://schemas.openxmlformats.org/drawingml/2006/table">
            <a:tbl>
              <a:tblPr bandRow="1"/>
              <a:tblGrid>
                <a:gridCol w="660400"/>
                <a:gridCol w="660400"/>
                <a:gridCol w="660400"/>
                <a:gridCol w="660400"/>
              </a:tblGrid>
              <a:tr h="198837">
                <a:tc gridSpan="4">
                  <a:txBody>
                    <a:bodyPr/>
                    <a:lstStyle/>
                    <a:p>
                      <a:pPr algn="ctr" rtl="0" fontAlgn="ctr"/>
                      <a:r>
                        <a:rPr lang="en-US" sz="900" b="1" i="0" u="none" strike="noStrike" dirty="0">
                          <a:solidFill>
                            <a:srgbClr val="000000"/>
                          </a:solidFill>
                          <a:effectLst/>
                          <a:latin typeface="Calibri" panose="020F0502020204030204" pitchFamily="34" charset="0"/>
                        </a:rPr>
                        <a:t>CY Returns (As on 30th April’25)</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c hMerge="1">
                  <a:tcPr/>
                </a:tc>
                <a:tc hMerge="1">
                  <a:tcPr/>
                </a:tc>
              </a:tr>
              <a:tr h="198837">
                <a:tc>
                  <a:txBody>
                    <a:bodyPr/>
                    <a:lstStyle/>
                    <a:p>
                      <a:pPr algn="l" rtl="0" fontAlgn="ctr"/>
                      <a:endParaRPr lang="en-US"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dirty="0">
                          <a:solidFill>
                            <a:srgbClr val="000000"/>
                          </a:solidFill>
                          <a:effectLst/>
                          <a:latin typeface="Calibri" panose="020F0502020204030204" pitchFamily="34" charset="0"/>
                        </a:rPr>
                        <a:t>Fund</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dirty="0">
                          <a:solidFill>
                            <a:srgbClr val="000000"/>
                          </a:solidFill>
                          <a:effectLst/>
                          <a:latin typeface="Calibri" panose="020F0502020204030204" pitchFamily="34" charset="0"/>
                        </a:rPr>
                        <a:t>Benchmark</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a:solidFill>
                            <a:srgbClr val="000000"/>
                          </a:solidFill>
                          <a:effectLst/>
                          <a:latin typeface="Calibri" panose="020F0502020204030204" pitchFamily="34" charset="0"/>
                        </a:rPr>
                        <a:t>Alpha</a:t>
                      </a:r>
                      <a:endParaRPr lang="en-US" sz="900" b="1"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8837">
                <a:tc>
                  <a:txBody>
                    <a:bodyPr/>
                    <a:lstStyle/>
                    <a:p>
                      <a:pPr algn="ctr" rtl="0" fontAlgn="ctr"/>
                      <a:r>
                        <a:rPr lang="en-US" sz="900" b="1" i="0" u="none" strike="noStrike" dirty="0">
                          <a:solidFill>
                            <a:srgbClr val="000000"/>
                          </a:solidFill>
                          <a:effectLst/>
                          <a:latin typeface="Calibri" panose="020F0502020204030204" pitchFamily="34" charset="0"/>
                        </a:rPr>
                        <a:t>2025 YTD</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2.6%</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8837">
                <a:tc>
                  <a:txBody>
                    <a:bodyPr/>
                    <a:lstStyle/>
                    <a:p>
                      <a:pPr algn="ctr" rtl="0" fontAlgn="ctr"/>
                      <a:r>
                        <a:rPr lang="en-US" sz="900" b="1" i="0" u="none" strike="noStrike" dirty="0">
                          <a:solidFill>
                            <a:srgbClr val="000000"/>
                          </a:solidFill>
                          <a:effectLst/>
                          <a:latin typeface="Calibri" panose="020F0502020204030204" pitchFamily="34" charset="0"/>
                        </a:rPr>
                        <a:t>2024</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7.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8.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9.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8837">
                <a:tc>
                  <a:txBody>
                    <a:bodyPr/>
                    <a:lstStyle/>
                    <a:p>
                      <a:pPr algn="ctr" rtl="0" fontAlgn="ctr"/>
                      <a:r>
                        <a:rPr lang="en-US" sz="900" b="1" i="0" u="none" strike="noStrike" dirty="0">
                          <a:solidFill>
                            <a:srgbClr val="000000"/>
                          </a:solidFill>
                          <a:effectLst/>
                          <a:latin typeface="Calibri" panose="020F0502020204030204" pitchFamily="34" charset="0"/>
                        </a:rPr>
                        <a:t>2023</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5.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2.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7.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8837">
                <a:tc>
                  <a:txBody>
                    <a:bodyPr/>
                    <a:lstStyle/>
                    <a:p>
                      <a:pPr algn="ctr" rtl="0" fontAlgn="ctr"/>
                      <a:r>
                        <a:rPr lang="en-US" sz="900" b="1" i="0" u="none" strike="noStrike" dirty="0">
                          <a:solidFill>
                            <a:srgbClr val="000000"/>
                          </a:solidFill>
                          <a:effectLst/>
                          <a:latin typeface="Calibri" panose="020F0502020204030204" pitchFamily="34" charset="0"/>
                        </a:rPr>
                        <a:t>2022 </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8837">
                <a:tc>
                  <a:txBody>
                    <a:bodyPr/>
                    <a:lstStyle/>
                    <a:p>
                      <a:pPr algn="ctr" rtl="0" fontAlgn="ctr"/>
                      <a:r>
                        <a:rPr lang="en-US" sz="900" b="1" i="0" u="none" strike="noStrike" dirty="0">
                          <a:solidFill>
                            <a:srgbClr val="000000"/>
                          </a:solidFill>
                          <a:effectLst/>
                          <a:latin typeface="Calibri" panose="020F0502020204030204" pitchFamily="34" charset="0"/>
                        </a:rPr>
                        <a:t>2021</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8.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7.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8837">
                <a:tc>
                  <a:txBody>
                    <a:bodyPr/>
                    <a:lstStyle/>
                    <a:p>
                      <a:pPr algn="ctr" rtl="0" fontAlgn="ctr"/>
                      <a:r>
                        <a:rPr lang="en-US" sz="900" b="1" i="0" u="none" strike="noStrike" dirty="0">
                          <a:solidFill>
                            <a:srgbClr val="000000"/>
                          </a:solidFill>
                          <a:effectLst/>
                          <a:latin typeface="Calibri" panose="020F0502020204030204" pitchFamily="34" charset="0"/>
                        </a:rPr>
                        <a:t>2020</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6.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0.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8837">
                <a:tc>
                  <a:txBody>
                    <a:bodyPr/>
                    <a:lstStyle/>
                    <a:p>
                      <a:pPr algn="ctr" rtl="0" fontAlgn="ctr"/>
                      <a:r>
                        <a:rPr lang="en-US" sz="900" b="1" i="0" u="none" strike="noStrike" dirty="0">
                          <a:solidFill>
                            <a:srgbClr val="000000"/>
                          </a:solidFill>
                          <a:effectLst/>
                          <a:latin typeface="Calibri" panose="020F0502020204030204" pitchFamily="34" charset="0"/>
                        </a:rPr>
                        <a:t>2019</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9.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6.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8837">
                <a:tc>
                  <a:txBody>
                    <a:bodyPr/>
                    <a:lstStyle/>
                    <a:p>
                      <a:pPr algn="ctr" rtl="0" fontAlgn="ctr"/>
                      <a:r>
                        <a:rPr lang="en-US" sz="900" b="1" i="0" u="none" strike="noStrike" dirty="0">
                          <a:solidFill>
                            <a:srgbClr val="000000"/>
                          </a:solidFill>
                          <a:effectLst/>
                          <a:latin typeface="Calibri" panose="020F0502020204030204" pitchFamily="34" charset="0"/>
                        </a:rPr>
                        <a:t>2018</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8.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8837">
                <a:tc>
                  <a:txBody>
                    <a:bodyPr/>
                    <a:lstStyle/>
                    <a:p>
                      <a:pPr algn="ctr" rtl="0" fontAlgn="ctr"/>
                      <a:r>
                        <a:rPr lang="en-US" sz="900" b="1" i="0" u="none" strike="noStrike" dirty="0">
                          <a:solidFill>
                            <a:srgbClr val="000000"/>
                          </a:solidFill>
                          <a:effectLst/>
                          <a:latin typeface="Calibri" panose="020F0502020204030204" pitchFamily="34" charset="0"/>
                        </a:rPr>
                        <a:t>2017</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54.1%</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4.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8.0%</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30" name="Table 29"/>
          <p:cNvGraphicFramePr>
            <a:graphicFrameLocks noGrp="1"/>
          </p:cNvGraphicFramePr>
          <p:nvPr/>
        </p:nvGraphicFramePr>
        <p:xfrm>
          <a:off x="3066142" y="2884020"/>
          <a:ext cx="2133600" cy="2119779"/>
        </p:xfrm>
        <a:graphic>
          <a:graphicData uri="http://schemas.openxmlformats.org/drawingml/2006/table">
            <a:tbl>
              <a:tblPr bandRow="1"/>
              <a:tblGrid>
                <a:gridCol w="1397000"/>
                <a:gridCol w="736600"/>
              </a:tblGrid>
              <a:tr h="235531">
                <a:tc>
                  <a:txBody>
                    <a:bodyPr/>
                    <a:lstStyle/>
                    <a:p>
                      <a:pPr algn="ctr" fontAlgn="ctr"/>
                      <a:r>
                        <a:rPr lang="en-US" sz="900" b="1" i="0" u="none" strike="noStrike" dirty="0">
                          <a:solidFill>
                            <a:srgbClr val="000000"/>
                          </a:solidFill>
                          <a:effectLst/>
                          <a:latin typeface="Calibri" panose="020F0502020204030204" pitchFamily="34" charset="0"/>
                        </a:rPr>
                        <a:t>Top Holding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a:txBody>
                    <a:bodyPr/>
                    <a:lstStyle/>
                    <a:p>
                      <a:pPr algn="ctr" fontAlgn="ctr"/>
                      <a:r>
                        <a:rPr lang="en-US" sz="900" b="1" i="0" u="none" strike="noStrike" dirty="0">
                          <a:solidFill>
                            <a:srgbClr val="000000"/>
                          </a:solidFill>
                          <a:effectLst/>
                          <a:latin typeface="Calibri" panose="020F0502020204030204" pitchFamily="34" charset="0"/>
                        </a:rPr>
                        <a:t>% Allocation</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r>
              <a:tr h="235531">
                <a:tc>
                  <a:txBody>
                    <a:bodyPr/>
                    <a:lstStyle/>
                    <a:p>
                      <a:pPr algn="ctr" rtl="0" fontAlgn="ctr"/>
                      <a:r>
                        <a:rPr lang="en-GB" sz="900" b="0" i="0" u="none" strike="noStrike">
                          <a:solidFill>
                            <a:srgbClr val="000000"/>
                          </a:solidFill>
                          <a:effectLst/>
                          <a:latin typeface="Calibri" panose="020F0502020204030204" pitchFamily="34" charset="0"/>
                        </a:rPr>
                        <a:t>ICICI Ban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6.1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5531">
                <a:tc>
                  <a:txBody>
                    <a:bodyPr/>
                    <a:lstStyle/>
                    <a:p>
                      <a:pPr algn="ctr" rtl="0" fontAlgn="ctr"/>
                      <a:r>
                        <a:rPr lang="en-GB" sz="900" b="0" i="0" u="none" strike="noStrike">
                          <a:solidFill>
                            <a:srgbClr val="000000"/>
                          </a:solidFill>
                          <a:effectLst/>
                          <a:latin typeface="Calibri" panose="020F0502020204030204" pitchFamily="34" charset="0"/>
                        </a:rPr>
                        <a:t>The Indian Hotel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7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5531">
                <a:tc>
                  <a:txBody>
                    <a:bodyPr/>
                    <a:lstStyle/>
                    <a:p>
                      <a:pPr algn="ctr" rtl="0" fontAlgn="ctr"/>
                      <a:r>
                        <a:rPr lang="en-GB" sz="900" b="0" i="0" u="none" strike="noStrike">
                          <a:solidFill>
                            <a:srgbClr val="000000"/>
                          </a:solidFill>
                          <a:effectLst/>
                          <a:latin typeface="Calibri" panose="020F0502020204030204" pitchFamily="34" charset="0"/>
                        </a:rPr>
                        <a:t>UNO Minda</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8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5531">
                <a:tc>
                  <a:txBody>
                    <a:bodyPr/>
                    <a:lstStyle/>
                    <a:p>
                      <a:pPr algn="ctr" rtl="0" fontAlgn="ctr"/>
                      <a:r>
                        <a:rPr lang="en-GB" sz="900" b="0" i="0" u="none" strike="noStrike">
                          <a:solidFill>
                            <a:srgbClr val="000000"/>
                          </a:solidFill>
                          <a:effectLst/>
                          <a:latin typeface="Calibri" panose="020F0502020204030204" pitchFamily="34" charset="0"/>
                        </a:rPr>
                        <a:t>KPIT Technologi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5531">
                <a:tc>
                  <a:txBody>
                    <a:bodyPr/>
                    <a:lstStyle/>
                    <a:p>
                      <a:pPr algn="ctr" rtl="0" fontAlgn="ctr"/>
                      <a:r>
                        <a:rPr lang="en-GB" sz="900" b="0" i="0" u="none" strike="noStrike">
                          <a:solidFill>
                            <a:srgbClr val="000000"/>
                          </a:solidFill>
                          <a:effectLst/>
                          <a:latin typeface="Calibri" panose="020F0502020204030204" pitchFamily="34" charset="0"/>
                        </a:rPr>
                        <a:t>Trent</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3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5531">
                <a:tc>
                  <a:txBody>
                    <a:bodyPr/>
                    <a:lstStyle/>
                    <a:p>
                      <a:pPr algn="ctr" rtl="0" fontAlgn="ctr"/>
                      <a:r>
                        <a:rPr lang="en-GB" sz="900" b="0" i="0" u="none" strike="noStrike">
                          <a:solidFill>
                            <a:srgbClr val="000000"/>
                          </a:solidFill>
                          <a:effectLst/>
                          <a:latin typeface="Calibri" panose="020F0502020204030204" pitchFamily="34" charset="0"/>
                        </a:rPr>
                        <a:t>Bharat Electronic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2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5531">
                <a:tc>
                  <a:txBody>
                    <a:bodyPr/>
                    <a:lstStyle/>
                    <a:p>
                      <a:pPr algn="ctr" rtl="0" fontAlgn="ctr"/>
                      <a:r>
                        <a:rPr lang="en-GB" sz="900" b="0" i="0" u="none" strike="noStrike">
                          <a:solidFill>
                            <a:srgbClr val="000000"/>
                          </a:solidFill>
                          <a:effectLst/>
                          <a:latin typeface="Calibri" panose="020F0502020204030204" pitchFamily="34" charset="0"/>
                        </a:rPr>
                        <a:t>Dixon Technologi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1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5531">
                <a:tc>
                  <a:txBody>
                    <a:bodyPr/>
                    <a:lstStyle/>
                    <a:p>
                      <a:pPr algn="ctr" rtl="0" fontAlgn="ctr"/>
                      <a:r>
                        <a:rPr lang="en-GB" sz="900" b="0" i="0" u="none" strike="noStrike">
                          <a:solidFill>
                            <a:srgbClr val="000000"/>
                          </a:solidFill>
                          <a:effectLst/>
                          <a:latin typeface="Calibri" panose="020F0502020204030204" pitchFamily="34" charset="0"/>
                        </a:rPr>
                        <a:t>TVS Motor</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3.09</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 name="Chart 1"/>
          <p:cNvGraphicFramePr/>
          <p:nvPr/>
        </p:nvGraphicFramePr>
        <p:xfrm>
          <a:off x="5364110" y="2884020"/>
          <a:ext cx="3723447" cy="2203494"/>
        </p:xfrm>
        <a:graphic>
          <a:graphicData uri="http://schemas.openxmlformats.org/drawingml/2006/chart">
            <c:chart xmlns:c="http://schemas.openxmlformats.org/drawingml/2006/chart" xmlns:r="http://schemas.openxmlformats.org/officeDocument/2006/relationships" r:id="rId1"/>
          </a:graphicData>
        </a:graphic>
      </p:graphicFrame>
    </p:spTree>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0"/>
          <p:cNvSpPr txBox="1"/>
          <p:nvPr/>
        </p:nvSpPr>
        <p:spPr>
          <a:xfrm>
            <a:off x="268512" y="220710"/>
            <a:ext cx="6643663" cy="374713"/>
          </a:xfrm>
          <a:prstGeom prst="rect">
            <a:avLst/>
          </a:prstGeom>
        </p:spPr>
        <p:txBody>
          <a:bodyPr lIns="0" tIns="0" rIns="0" bIns="0"/>
          <a:lstStyle/>
          <a:p>
            <a:pPr>
              <a:lnSpc>
                <a:spcPts val="2700"/>
              </a:lnSpc>
              <a:defRPr/>
            </a:pPr>
            <a:r>
              <a:rPr lang="en-IN" sz="1400" b="1" dirty="0">
                <a:ln>
                  <a:solidFill>
                    <a:schemeClr val="accent2"/>
                  </a:solidFill>
                </a:ln>
                <a:solidFill>
                  <a:schemeClr val="tx1">
                    <a:lumMod val="85000"/>
                    <a:lumOff val="15000"/>
                  </a:schemeClr>
                </a:solidFill>
                <a:latin typeface="Calibri" panose="020F0502020204030204" pitchFamily="34" charset="0"/>
                <a:cs typeface="Calibri" panose="020F0502020204030204" pitchFamily="34" charset="0"/>
              </a:rPr>
              <a:t> </a:t>
            </a:r>
            <a:r>
              <a:rPr lang="en-IN" sz="1400" dirty="0">
                <a:ln>
                  <a:solidFill>
                    <a:sysClr val="windowText" lastClr="000000"/>
                  </a:solidFill>
                </a:ln>
                <a:solidFill>
                  <a:sysClr val="windowText" lastClr="000000"/>
                </a:solidFill>
                <a:latin typeface="Calibri" panose="020F0502020204030204" pitchFamily="34" charset="0"/>
                <a:cs typeface="Calibri" panose="020F0502020204030204" pitchFamily="34" charset="0"/>
              </a:rPr>
              <a:t>Parag Parikh Flexi Cap Fund</a:t>
            </a:r>
            <a:endParaRPr lang="en-US" sz="1400" dirty="0">
              <a:solidFill>
                <a:schemeClr val="tx1">
                  <a:lumMod val="85000"/>
                  <a:lumOff val="15000"/>
                </a:schemeClr>
              </a:solidFill>
              <a:latin typeface="Calibri" panose="020F0502020204030204" pitchFamily="34" charset="0"/>
              <a:ea typeface="+mj-ea"/>
              <a:cs typeface="Calibri" panose="020F0502020204030204" pitchFamily="34" charset="0"/>
            </a:endParaRPr>
          </a:p>
        </p:txBody>
      </p:sp>
      <p:graphicFrame>
        <p:nvGraphicFramePr>
          <p:cNvPr id="3" name="Table 2"/>
          <p:cNvGraphicFramePr>
            <a:graphicFrameLocks noGrp="1"/>
          </p:cNvGraphicFramePr>
          <p:nvPr/>
        </p:nvGraphicFramePr>
        <p:xfrm>
          <a:off x="256012" y="830723"/>
          <a:ext cx="2180497" cy="1926991"/>
        </p:xfrm>
        <a:graphic>
          <a:graphicData uri="http://schemas.openxmlformats.org/drawingml/2006/table">
            <a:tbl>
              <a:tblPr/>
              <a:tblGrid>
                <a:gridCol w="1138237"/>
                <a:gridCol w="1042260"/>
              </a:tblGrid>
              <a:tr h="332905">
                <a:tc gridSpan="2">
                  <a:txBody>
                    <a:bodyPr/>
                    <a:lstStyle/>
                    <a:p>
                      <a:pPr algn="ctr" rtl="0" fontAlgn="ctr"/>
                      <a:r>
                        <a:rPr lang="en-US" sz="900" b="1" i="0" u="none" strike="noStrike" dirty="0">
                          <a:solidFill>
                            <a:srgbClr val="000000"/>
                          </a:solidFill>
                          <a:effectLst/>
                          <a:latin typeface="Calibri" panose="020F0502020204030204" pitchFamily="34" charset="0"/>
                        </a:rPr>
                        <a:t>Key Detail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65681">
                <a:tc>
                  <a:txBody>
                    <a:bodyPr/>
                    <a:lstStyle/>
                    <a:p>
                      <a:pPr algn="ctr" rtl="0" fontAlgn="ctr"/>
                      <a:r>
                        <a:rPr lang="en-GB" sz="900" b="0" i="0" u="none" strike="noStrike">
                          <a:solidFill>
                            <a:srgbClr val="000000"/>
                          </a:solidFill>
                          <a:effectLst/>
                          <a:latin typeface="Calibri" panose="020F0502020204030204" pitchFamily="34" charset="0"/>
                        </a:rPr>
                        <a:t>Inception</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May-1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65681">
                <a:tc>
                  <a:txBody>
                    <a:bodyPr/>
                    <a:lstStyle/>
                    <a:p>
                      <a:pPr algn="ctr" rtl="0" fontAlgn="ctr"/>
                      <a:r>
                        <a:rPr lang="en-GB" sz="900" b="0" i="0" u="none" strike="noStrike">
                          <a:solidFill>
                            <a:srgbClr val="000000"/>
                          </a:solidFill>
                          <a:effectLst/>
                          <a:latin typeface="Calibri" panose="020F0502020204030204" pitchFamily="34" charset="0"/>
                        </a:rPr>
                        <a:t>Categor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Flexi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65681">
                <a:tc>
                  <a:txBody>
                    <a:bodyPr/>
                    <a:lstStyle/>
                    <a:p>
                      <a:pPr algn="ctr" rtl="0" fontAlgn="ctr"/>
                      <a:r>
                        <a:rPr lang="en-GB" sz="900" b="0" i="0" u="none" strike="noStrike">
                          <a:solidFill>
                            <a:srgbClr val="000000"/>
                          </a:solidFill>
                          <a:effectLst/>
                          <a:latin typeface="Calibri" panose="020F0502020204030204" pitchFamily="34" charset="0"/>
                        </a:rPr>
                        <a:t>AUM (Rs Cror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03,86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65681">
                <a:tc>
                  <a:txBody>
                    <a:bodyPr/>
                    <a:lstStyle/>
                    <a:p>
                      <a:pPr algn="ctr" rtl="0" fontAlgn="ctr"/>
                      <a:r>
                        <a:rPr lang="en-GB" sz="900" b="0" i="0" u="none" strike="noStrike">
                          <a:solidFill>
                            <a:srgbClr val="000000"/>
                          </a:solidFill>
                          <a:effectLst/>
                          <a:latin typeface="Calibri" panose="020F0502020204030204" pitchFamily="34" charset="0"/>
                        </a:rPr>
                        <a:t>Benchmar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Nifty 500 TRI</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65681">
                <a:tc>
                  <a:txBody>
                    <a:bodyPr/>
                    <a:lstStyle/>
                    <a:p>
                      <a:pPr algn="ctr" rtl="0" fontAlgn="ctr"/>
                      <a:r>
                        <a:rPr lang="en-GB" sz="900" b="0" i="0" u="none" strike="noStrike">
                          <a:solidFill>
                            <a:srgbClr val="000000"/>
                          </a:solidFill>
                          <a:effectLst/>
                          <a:latin typeface="Calibri" panose="020F0502020204030204" pitchFamily="34" charset="0"/>
                        </a:rPr>
                        <a:t>Fund Manager</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Rajeev Thakkar</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65681">
                <a:tc>
                  <a:txBody>
                    <a:bodyPr/>
                    <a:lstStyle/>
                    <a:p>
                      <a:pPr algn="ctr" rtl="0" fontAlgn="ctr"/>
                      <a:r>
                        <a:rPr lang="en-GB" sz="900" b="0" i="0" u="none" strike="noStrike" dirty="0">
                          <a:solidFill>
                            <a:srgbClr val="000000"/>
                          </a:solidFill>
                          <a:effectLst/>
                          <a:latin typeface="Calibri" panose="020F0502020204030204" pitchFamily="34" charset="0"/>
                        </a:rPr>
                        <a:t>Expense Ratio</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0.63%</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5" name="Table 4"/>
          <p:cNvGraphicFramePr>
            <a:graphicFrameLocks noGrp="1"/>
          </p:cNvGraphicFramePr>
          <p:nvPr/>
        </p:nvGraphicFramePr>
        <p:xfrm>
          <a:off x="2521270" y="830723"/>
          <a:ext cx="2050730" cy="1979522"/>
        </p:xfrm>
        <a:graphic>
          <a:graphicData uri="http://schemas.openxmlformats.org/drawingml/2006/table">
            <a:tbl>
              <a:tblPr/>
              <a:tblGrid>
                <a:gridCol w="1676231"/>
                <a:gridCol w="374499"/>
              </a:tblGrid>
              <a:tr h="280489">
                <a:tc gridSpan="2">
                  <a:txBody>
                    <a:bodyPr/>
                    <a:lstStyle/>
                    <a:p>
                      <a:pPr algn="ctr" rtl="0" fontAlgn="ctr"/>
                      <a:r>
                        <a:rPr lang="en-US" sz="900" b="1" i="0" u="none" strike="noStrike" dirty="0">
                          <a:solidFill>
                            <a:srgbClr val="000000"/>
                          </a:solidFill>
                          <a:effectLst/>
                          <a:latin typeface="Calibri" panose="020F0502020204030204" pitchFamily="34" charset="0"/>
                        </a:rPr>
                        <a:t>Portfolio Aggregate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42719">
                <a:tc>
                  <a:txBody>
                    <a:bodyPr/>
                    <a:lstStyle/>
                    <a:p>
                      <a:pPr algn="ctr" rtl="0" fontAlgn="ctr"/>
                      <a:r>
                        <a:rPr lang="en-GB" sz="900" b="0" i="0" u="none" strike="noStrike">
                          <a:solidFill>
                            <a:srgbClr val="000000"/>
                          </a:solidFill>
                          <a:effectLst/>
                          <a:latin typeface="Calibri" panose="020F0502020204030204" pitchFamily="34" charset="0"/>
                        </a:rPr>
                        <a:t>No of Stock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9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Avg Mkt Cap (Rs Lac Cror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6.2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Investing Style </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GAR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Giant</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8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Large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Mid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Small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0%</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10" name="Table 9"/>
          <p:cNvGraphicFramePr>
            <a:graphicFrameLocks noGrp="1"/>
          </p:cNvGraphicFramePr>
          <p:nvPr/>
        </p:nvGraphicFramePr>
        <p:xfrm>
          <a:off x="4656762" y="830722"/>
          <a:ext cx="1968500" cy="1926990"/>
        </p:xfrm>
        <a:graphic>
          <a:graphicData uri="http://schemas.openxmlformats.org/drawingml/2006/table">
            <a:tbl>
              <a:tblPr/>
              <a:tblGrid>
                <a:gridCol w="850468"/>
                <a:gridCol w="1118032"/>
              </a:tblGrid>
              <a:tr h="321165">
                <a:tc gridSpan="2">
                  <a:txBody>
                    <a:bodyPr/>
                    <a:lstStyle/>
                    <a:p>
                      <a:pPr algn="ctr" rtl="0" fontAlgn="ctr"/>
                      <a:r>
                        <a:rPr lang="en-US" sz="900" b="1" i="0" u="none" strike="noStrike" dirty="0">
                          <a:solidFill>
                            <a:srgbClr val="000000"/>
                          </a:solidFill>
                          <a:effectLst/>
                          <a:latin typeface="Calibri" panose="020F0502020204030204" pitchFamily="34" charset="0"/>
                        </a:rPr>
                        <a:t>Portfolio Concentration &amp; Metric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321165">
                <a:tc>
                  <a:txBody>
                    <a:bodyPr/>
                    <a:lstStyle/>
                    <a:p>
                      <a:pPr algn="ctr" rtl="0" fontAlgn="ctr"/>
                      <a:r>
                        <a:rPr lang="en-GB" sz="900" b="0" i="0" u="none" strike="noStrike">
                          <a:solidFill>
                            <a:srgbClr val="000000"/>
                          </a:solidFill>
                          <a:effectLst/>
                          <a:latin typeface="Calibri" panose="020F0502020204030204" pitchFamily="34" charset="0"/>
                        </a:rPr>
                        <a:t>Top 10 Stock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0.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1165">
                <a:tc>
                  <a:txBody>
                    <a:bodyPr/>
                    <a:lstStyle/>
                    <a:p>
                      <a:pPr algn="ctr" rtl="0" fontAlgn="ctr"/>
                      <a:r>
                        <a:rPr lang="en-GB" sz="900" b="0" i="0" u="none" strike="noStrike">
                          <a:solidFill>
                            <a:srgbClr val="000000"/>
                          </a:solidFill>
                          <a:effectLst/>
                          <a:latin typeface="Calibri" panose="020F0502020204030204" pitchFamily="34" charset="0"/>
                        </a:rPr>
                        <a:t>Top 5 Stock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1.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1165">
                <a:tc>
                  <a:txBody>
                    <a:bodyPr/>
                    <a:lstStyle/>
                    <a:p>
                      <a:pPr algn="ctr" rtl="0" fontAlgn="ctr"/>
                      <a:r>
                        <a:rPr lang="en-GB" sz="900" b="0" i="0" u="none" strike="noStrike">
                          <a:solidFill>
                            <a:srgbClr val="000000"/>
                          </a:solidFill>
                          <a:effectLst/>
                          <a:latin typeface="Calibri" panose="020F0502020204030204" pitchFamily="34" charset="0"/>
                        </a:rPr>
                        <a:t>Top 3 Sector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5.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1165">
                <a:tc>
                  <a:txBody>
                    <a:bodyPr/>
                    <a:lstStyle/>
                    <a:p>
                      <a:pPr algn="ctr" rtl="0" fontAlgn="ctr"/>
                      <a:r>
                        <a:rPr lang="en-GB" sz="900" b="0" i="0" u="none" strike="noStrike">
                          <a:solidFill>
                            <a:srgbClr val="000000"/>
                          </a:solidFill>
                          <a:effectLst/>
                          <a:latin typeface="Calibri" panose="020F0502020204030204" pitchFamily="34" charset="0"/>
                        </a:rPr>
                        <a:t>P/E Ratio</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7.9x</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1165">
                <a:tc>
                  <a:txBody>
                    <a:bodyPr/>
                    <a:lstStyle/>
                    <a:p>
                      <a:pPr algn="ctr" rtl="0" fontAlgn="ctr"/>
                      <a:r>
                        <a:rPr lang="en-GB" sz="900" b="0" i="0" u="none" strike="noStrike" dirty="0">
                          <a:solidFill>
                            <a:srgbClr val="000000"/>
                          </a:solidFill>
                          <a:effectLst/>
                          <a:latin typeface="Calibri" panose="020F0502020204030204" pitchFamily="34" charset="0"/>
                        </a:rPr>
                        <a:t>P/B Ratio</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3.4x</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1" name="Table 20"/>
          <p:cNvGraphicFramePr>
            <a:graphicFrameLocks noGrp="1"/>
          </p:cNvGraphicFramePr>
          <p:nvPr/>
        </p:nvGraphicFramePr>
        <p:xfrm>
          <a:off x="6749286" y="837073"/>
          <a:ext cx="2321126" cy="1920639"/>
        </p:xfrm>
        <a:graphic>
          <a:graphicData uri="http://schemas.openxmlformats.org/drawingml/2006/table">
            <a:tbl>
              <a:tblPr/>
              <a:tblGrid>
                <a:gridCol w="1276620"/>
                <a:gridCol w="1044506"/>
              </a:tblGrid>
              <a:tr h="244485">
                <a:tc gridSpan="2">
                  <a:txBody>
                    <a:bodyPr/>
                    <a:lstStyle/>
                    <a:p>
                      <a:pPr algn="ctr" rtl="0" fontAlgn="ctr"/>
                      <a:r>
                        <a:rPr lang="en-US" sz="900" b="1" i="0" u="none" strike="noStrike" dirty="0">
                          <a:solidFill>
                            <a:srgbClr val="000000"/>
                          </a:solidFill>
                          <a:effectLst/>
                          <a:latin typeface="Calibri" panose="020F0502020204030204" pitchFamily="34" charset="0"/>
                        </a:rPr>
                        <a:t>Top Sectors </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79359">
                <a:tc>
                  <a:txBody>
                    <a:bodyPr/>
                    <a:lstStyle/>
                    <a:p>
                      <a:pPr algn="ctr" rtl="0" fontAlgn="ctr"/>
                      <a:r>
                        <a:rPr lang="en-GB" sz="900" b="0" i="0" u="none" strike="noStrike">
                          <a:solidFill>
                            <a:srgbClr val="000000"/>
                          </a:solidFill>
                          <a:effectLst/>
                          <a:latin typeface="Calibri" panose="020F0502020204030204" pitchFamily="34" charset="0"/>
                        </a:rPr>
                        <a:t>Financial</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9.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Technolog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5.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Consumer Discretionar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0.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Material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6.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Energy &amp; Utiliti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Consumer Stapl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4.4%</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3" name="Table 22"/>
          <p:cNvGraphicFramePr>
            <a:graphicFrameLocks noGrp="1"/>
          </p:cNvGraphicFramePr>
          <p:nvPr/>
        </p:nvGraphicFramePr>
        <p:xfrm>
          <a:off x="203198" y="2884021"/>
          <a:ext cx="2641600" cy="2136068"/>
        </p:xfrm>
        <a:graphic>
          <a:graphicData uri="http://schemas.openxmlformats.org/drawingml/2006/table">
            <a:tbl>
              <a:tblPr bandRow="1"/>
              <a:tblGrid>
                <a:gridCol w="660400"/>
                <a:gridCol w="660400"/>
                <a:gridCol w="660400"/>
                <a:gridCol w="660400"/>
              </a:tblGrid>
              <a:tr h="194188">
                <a:tc gridSpan="4">
                  <a:txBody>
                    <a:bodyPr/>
                    <a:lstStyle/>
                    <a:p>
                      <a:pPr algn="ctr" rtl="0" fontAlgn="ctr"/>
                      <a:r>
                        <a:rPr lang="en-US" sz="900" b="1" i="0" u="none" strike="noStrike" dirty="0">
                          <a:solidFill>
                            <a:srgbClr val="000000"/>
                          </a:solidFill>
                          <a:effectLst/>
                          <a:latin typeface="Calibri" panose="020F0502020204030204" pitchFamily="34" charset="0"/>
                        </a:rPr>
                        <a:t>CY Returns (As on 30th April’25)</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c hMerge="1">
                  <a:tcPr/>
                </a:tc>
                <a:tc hMerge="1">
                  <a:tcPr/>
                </a:tc>
              </a:tr>
              <a:tr h="194188">
                <a:tc>
                  <a:txBody>
                    <a:bodyPr/>
                    <a:lstStyle/>
                    <a:p>
                      <a:pPr algn="l" rtl="0" fontAlgn="ctr"/>
                      <a:endParaRPr lang="en-US"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dirty="0">
                          <a:solidFill>
                            <a:srgbClr val="000000"/>
                          </a:solidFill>
                          <a:effectLst/>
                          <a:latin typeface="Calibri" panose="020F0502020204030204" pitchFamily="34" charset="0"/>
                        </a:rPr>
                        <a:t>Fund</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dirty="0">
                          <a:solidFill>
                            <a:srgbClr val="000000"/>
                          </a:solidFill>
                          <a:effectLst/>
                          <a:latin typeface="Calibri" panose="020F0502020204030204" pitchFamily="34" charset="0"/>
                        </a:rPr>
                        <a:t>Benchmark</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a:solidFill>
                            <a:srgbClr val="000000"/>
                          </a:solidFill>
                          <a:effectLst/>
                          <a:latin typeface="Calibri" panose="020F0502020204030204" pitchFamily="34" charset="0"/>
                        </a:rPr>
                        <a:t>Alpha</a:t>
                      </a:r>
                      <a:endParaRPr lang="en-US" sz="900" b="1"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5 YTD</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4</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4.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6.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8.6%</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3</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37.6%</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6.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10.7%</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2 </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6.3%</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10.5%</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1</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47.0%</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31.6%</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15.4%</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0</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3.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7.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5.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19</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5.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9.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6.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18</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17</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0.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7.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7.6%</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30" name="Table 29"/>
          <p:cNvGraphicFramePr>
            <a:graphicFrameLocks noGrp="1"/>
          </p:cNvGraphicFramePr>
          <p:nvPr/>
        </p:nvGraphicFramePr>
        <p:xfrm>
          <a:off x="3066142" y="2884020"/>
          <a:ext cx="2133600" cy="2136069"/>
        </p:xfrm>
        <a:graphic>
          <a:graphicData uri="http://schemas.openxmlformats.org/drawingml/2006/table">
            <a:tbl>
              <a:tblPr bandRow="1"/>
              <a:tblGrid>
                <a:gridCol w="1397000"/>
                <a:gridCol w="736600"/>
              </a:tblGrid>
              <a:tr h="237341">
                <a:tc>
                  <a:txBody>
                    <a:bodyPr/>
                    <a:lstStyle/>
                    <a:p>
                      <a:pPr algn="ctr" fontAlgn="ctr"/>
                      <a:r>
                        <a:rPr lang="en-US" sz="900" b="1" i="0" u="none" strike="noStrike" dirty="0">
                          <a:solidFill>
                            <a:srgbClr val="000000"/>
                          </a:solidFill>
                          <a:effectLst/>
                          <a:latin typeface="Calibri" panose="020F0502020204030204" pitchFamily="34" charset="0"/>
                        </a:rPr>
                        <a:t>Top Holding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a:txBody>
                    <a:bodyPr/>
                    <a:lstStyle/>
                    <a:p>
                      <a:pPr algn="ctr" fontAlgn="ctr"/>
                      <a:r>
                        <a:rPr lang="en-US" sz="900" b="1" i="0" u="none" strike="noStrike" dirty="0">
                          <a:solidFill>
                            <a:srgbClr val="000000"/>
                          </a:solidFill>
                          <a:effectLst/>
                          <a:latin typeface="Calibri" panose="020F0502020204030204" pitchFamily="34" charset="0"/>
                        </a:rPr>
                        <a:t>% Allocation</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r>
              <a:tr h="237341">
                <a:tc>
                  <a:txBody>
                    <a:bodyPr/>
                    <a:lstStyle/>
                    <a:p>
                      <a:pPr algn="ctr" rtl="0" fontAlgn="ctr"/>
                      <a:r>
                        <a:rPr lang="en-GB" sz="900" b="0" i="0" u="none" strike="noStrike">
                          <a:solidFill>
                            <a:srgbClr val="000000"/>
                          </a:solidFill>
                          <a:effectLst/>
                          <a:latin typeface="Calibri" panose="020F0502020204030204" pitchFamily="34" charset="0"/>
                        </a:rPr>
                        <a:t> HDFC Ban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8.1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r>
                        <a:rPr lang="en-GB" sz="900" b="0" i="0" u="none" strike="noStrike">
                          <a:solidFill>
                            <a:srgbClr val="000000"/>
                          </a:solidFill>
                          <a:effectLst/>
                          <a:latin typeface="Calibri" panose="020F0502020204030204" pitchFamily="34" charset="0"/>
                        </a:rPr>
                        <a:t> Bajaj Holding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6.8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r>
                        <a:rPr lang="en-GB" sz="900" b="0" i="0" u="none" strike="noStrike">
                          <a:solidFill>
                            <a:srgbClr val="000000"/>
                          </a:solidFill>
                          <a:effectLst/>
                          <a:latin typeface="Calibri" panose="020F0502020204030204" pitchFamily="34" charset="0"/>
                        </a:rPr>
                        <a:t> Coal India</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9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r>
                        <a:rPr lang="en-GB" sz="900" b="0" i="0" u="none" strike="noStrike">
                          <a:solidFill>
                            <a:srgbClr val="000000"/>
                          </a:solidFill>
                          <a:effectLst/>
                          <a:latin typeface="Calibri" panose="020F0502020204030204" pitchFamily="34" charset="0"/>
                        </a:rPr>
                        <a:t> Power Grid</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8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r>
                        <a:rPr lang="en-GB" sz="900" b="0" i="0" u="none" strike="noStrike">
                          <a:solidFill>
                            <a:srgbClr val="000000"/>
                          </a:solidFill>
                          <a:effectLst/>
                          <a:latin typeface="Calibri" panose="020F0502020204030204" pitchFamily="34" charset="0"/>
                        </a:rPr>
                        <a:t> ICICI Ban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8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r>
                        <a:rPr lang="en-GB" sz="900" b="0" i="0" u="none" strike="noStrike">
                          <a:solidFill>
                            <a:srgbClr val="000000"/>
                          </a:solidFill>
                          <a:effectLst/>
                          <a:latin typeface="Calibri" panose="020F0502020204030204" pitchFamily="34" charset="0"/>
                        </a:rPr>
                        <a:t> ITC</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4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r>
                        <a:rPr lang="en-GB" sz="900" b="0" i="0" u="none" strike="noStrike">
                          <a:solidFill>
                            <a:srgbClr val="000000"/>
                          </a:solidFill>
                          <a:effectLst/>
                          <a:latin typeface="Calibri" panose="020F0502020204030204" pitchFamily="34" charset="0"/>
                        </a:rPr>
                        <a:t> Kotak Ban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9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r>
                        <a:rPr lang="en-GB" sz="900" b="0" i="0" u="none" strike="noStrike">
                          <a:solidFill>
                            <a:srgbClr val="000000"/>
                          </a:solidFill>
                          <a:effectLst/>
                          <a:latin typeface="Calibri" panose="020F0502020204030204" pitchFamily="34" charset="0"/>
                        </a:rPr>
                        <a:t> Maruti Suzuki</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3.58</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 name="Chart 1"/>
          <p:cNvGraphicFramePr/>
          <p:nvPr/>
        </p:nvGraphicFramePr>
        <p:xfrm>
          <a:off x="5364110" y="2884020"/>
          <a:ext cx="3723447" cy="2203494"/>
        </p:xfrm>
        <a:graphic>
          <a:graphicData uri="http://schemas.openxmlformats.org/drawingml/2006/chart">
            <c:chart xmlns:c="http://schemas.openxmlformats.org/drawingml/2006/chart" xmlns:r="http://schemas.openxmlformats.org/officeDocument/2006/relationships" r:id="rId1"/>
          </a:graphicData>
        </a:graphic>
      </p:graphicFrame>
    </p:spTree>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0"/>
          <p:cNvSpPr txBox="1"/>
          <p:nvPr/>
        </p:nvSpPr>
        <p:spPr>
          <a:xfrm>
            <a:off x="268512" y="220710"/>
            <a:ext cx="6643663" cy="374713"/>
          </a:xfrm>
          <a:prstGeom prst="rect">
            <a:avLst/>
          </a:prstGeom>
        </p:spPr>
        <p:txBody>
          <a:bodyPr lIns="0" tIns="0" rIns="0" bIns="0"/>
          <a:lstStyle/>
          <a:p>
            <a:pPr>
              <a:lnSpc>
                <a:spcPts val="2700"/>
              </a:lnSpc>
              <a:defRPr/>
            </a:pPr>
            <a:r>
              <a:rPr lang="en-IN" sz="1400" b="1" dirty="0">
                <a:ln>
                  <a:solidFill>
                    <a:schemeClr val="accent2"/>
                  </a:solidFill>
                </a:ln>
                <a:latin typeface="Calibri" panose="020F0502020204030204" pitchFamily="34" charset="0"/>
                <a:cs typeface="Calibri" panose="020F0502020204030204" pitchFamily="34" charset="0"/>
              </a:rPr>
              <a:t> </a:t>
            </a:r>
            <a:r>
              <a:rPr lang="en-IN" sz="1400" dirty="0">
                <a:ln>
                  <a:solidFill>
                    <a:sysClr val="windowText" lastClr="000000"/>
                  </a:solidFill>
                </a:ln>
                <a:solidFill>
                  <a:sysClr val="windowText" lastClr="000000"/>
                </a:solidFill>
                <a:latin typeface="Calibri" panose="020F0502020204030204" pitchFamily="34" charset="0"/>
                <a:cs typeface="Calibri" panose="020F0502020204030204" pitchFamily="34" charset="0"/>
              </a:rPr>
              <a:t>White Oak Flexi Cap Fund</a:t>
            </a:r>
            <a:endParaRPr lang="en-US" sz="1400" dirty="0">
              <a:solidFill>
                <a:schemeClr val="tx1">
                  <a:lumMod val="85000"/>
                  <a:lumOff val="15000"/>
                </a:schemeClr>
              </a:solidFill>
              <a:latin typeface="Calibri" panose="020F0502020204030204" pitchFamily="34" charset="0"/>
              <a:ea typeface="+mj-ea"/>
              <a:cs typeface="Calibri" panose="020F0502020204030204" pitchFamily="34" charset="0"/>
            </a:endParaRPr>
          </a:p>
        </p:txBody>
      </p:sp>
      <p:graphicFrame>
        <p:nvGraphicFramePr>
          <p:cNvPr id="3" name="Table 2"/>
          <p:cNvGraphicFramePr>
            <a:graphicFrameLocks noGrp="1"/>
          </p:cNvGraphicFramePr>
          <p:nvPr/>
        </p:nvGraphicFramePr>
        <p:xfrm>
          <a:off x="203198" y="837076"/>
          <a:ext cx="2122713" cy="1970627"/>
        </p:xfrm>
        <a:graphic>
          <a:graphicData uri="http://schemas.openxmlformats.org/drawingml/2006/table">
            <a:tbl>
              <a:tblPr/>
              <a:tblGrid>
                <a:gridCol w="1128352"/>
                <a:gridCol w="994361"/>
              </a:tblGrid>
              <a:tr h="334475">
                <a:tc gridSpan="2">
                  <a:txBody>
                    <a:bodyPr/>
                    <a:lstStyle/>
                    <a:p>
                      <a:pPr algn="ctr" rtl="0" fontAlgn="ctr"/>
                      <a:r>
                        <a:rPr lang="en-US" sz="900" b="1" i="0" u="none" strike="noStrike" dirty="0">
                          <a:solidFill>
                            <a:srgbClr val="000000"/>
                          </a:solidFill>
                          <a:effectLst/>
                          <a:latin typeface="Calibri" panose="020F0502020204030204" pitchFamily="34" charset="0"/>
                        </a:rPr>
                        <a:t>Key Detail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72692">
                <a:tc>
                  <a:txBody>
                    <a:bodyPr/>
                    <a:lstStyle/>
                    <a:p>
                      <a:pPr algn="ctr" rtl="0" fontAlgn="ctr"/>
                      <a:r>
                        <a:rPr lang="en-GB" sz="900" b="0" i="0" u="none" strike="noStrike">
                          <a:solidFill>
                            <a:srgbClr val="000000"/>
                          </a:solidFill>
                          <a:effectLst/>
                          <a:latin typeface="Calibri" panose="020F0502020204030204" pitchFamily="34" charset="0"/>
                        </a:rPr>
                        <a:t>Inception</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Aug-2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a:solidFill>
                            <a:srgbClr val="000000"/>
                          </a:solidFill>
                          <a:effectLst/>
                          <a:latin typeface="Calibri" panose="020F0502020204030204" pitchFamily="34" charset="0"/>
                        </a:rPr>
                        <a:t>Categor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Multi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a:solidFill>
                            <a:srgbClr val="000000"/>
                          </a:solidFill>
                          <a:effectLst/>
                          <a:latin typeface="Calibri" panose="020F0502020204030204" pitchFamily="34" charset="0"/>
                        </a:rPr>
                        <a:t>AUM (Rs Cror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05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a:solidFill>
                            <a:srgbClr val="000000"/>
                          </a:solidFill>
                          <a:effectLst/>
                          <a:latin typeface="Calibri" panose="020F0502020204030204" pitchFamily="34" charset="0"/>
                        </a:rPr>
                        <a:t>Benchmar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BSE 500 TRI</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a:solidFill>
                            <a:srgbClr val="000000"/>
                          </a:solidFill>
                          <a:effectLst/>
                          <a:latin typeface="Calibri" panose="020F0502020204030204" pitchFamily="34" charset="0"/>
                        </a:rPr>
                        <a:t>Fund Manager</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Ramesh Mantri</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dirty="0">
                          <a:solidFill>
                            <a:srgbClr val="000000"/>
                          </a:solidFill>
                          <a:effectLst/>
                          <a:latin typeface="Calibri" panose="020F0502020204030204" pitchFamily="34" charset="0"/>
                        </a:rPr>
                        <a:t>Expense Ratio</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0.46%</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5" name="Table 4"/>
          <p:cNvGraphicFramePr>
            <a:graphicFrameLocks noGrp="1"/>
          </p:cNvGraphicFramePr>
          <p:nvPr/>
        </p:nvGraphicFramePr>
        <p:xfrm>
          <a:off x="2389441" y="837073"/>
          <a:ext cx="2193081" cy="1975037"/>
        </p:xfrm>
        <a:graphic>
          <a:graphicData uri="http://schemas.openxmlformats.org/drawingml/2006/table">
            <a:tbl>
              <a:tblPr/>
              <a:tblGrid>
                <a:gridCol w="1413723"/>
                <a:gridCol w="779358"/>
              </a:tblGrid>
              <a:tr h="279854">
                <a:tc gridSpan="2">
                  <a:txBody>
                    <a:bodyPr/>
                    <a:lstStyle/>
                    <a:p>
                      <a:pPr algn="ctr" rtl="0" fontAlgn="ctr"/>
                      <a:r>
                        <a:rPr lang="en-US" sz="900" b="1" i="0" u="none" strike="noStrike" dirty="0">
                          <a:solidFill>
                            <a:srgbClr val="000000"/>
                          </a:solidFill>
                          <a:effectLst/>
                          <a:latin typeface="Calibri" panose="020F0502020204030204" pitchFamily="34" charset="0"/>
                        </a:rPr>
                        <a:t>Portfolio Aggregate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42169">
                <a:tc>
                  <a:txBody>
                    <a:bodyPr/>
                    <a:lstStyle/>
                    <a:p>
                      <a:pPr algn="ctr" rtl="0" fontAlgn="ctr"/>
                      <a:r>
                        <a:rPr lang="en-GB" sz="900" b="0" i="0" u="none" strike="noStrike">
                          <a:solidFill>
                            <a:srgbClr val="000000"/>
                          </a:solidFill>
                          <a:effectLst/>
                          <a:latin typeface="Calibri" panose="020F0502020204030204" pitchFamily="34" charset="0"/>
                        </a:rPr>
                        <a:t>No of Stock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2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169">
                <a:tc>
                  <a:txBody>
                    <a:bodyPr/>
                    <a:lstStyle/>
                    <a:p>
                      <a:pPr algn="ctr" rtl="0" fontAlgn="ctr"/>
                      <a:r>
                        <a:rPr lang="en-GB" sz="900" b="0" i="0" u="none" strike="noStrike">
                          <a:solidFill>
                            <a:srgbClr val="000000"/>
                          </a:solidFill>
                          <a:effectLst/>
                          <a:latin typeface="Calibri" panose="020F0502020204030204" pitchFamily="34" charset="0"/>
                        </a:rPr>
                        <a:t>Avg Mkt Cap (Rs Lac Cror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5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169">
                <a:tc>
                  <a:txBody>
                    <a:bodyPr/>
                    <a:lstStyle/>
                    <a:p>
                      <a:pPr algn="ctr" rtl="0" fontAlgn="ctr"/>
                      <a:r>
                        <a:rPr lang="en-GB" sz="900" b="0" i="0" u="none" strike="noStrike">
                          <a:solidFill>
                            <a:srgbClr val="000000"/>
                          </a:solidFill>
                          <a:effectLst/>
                          <a:latin typeface="Calibri" panose="020F0502020204030204" pitchFamily="34" charset="0"/>
                        </a:rPr>
                        <a:t>Investing Style </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Growth</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169">
                <a:tc>
                  <a:txBody>
                    <a:bodyPr/>
                    <a:lstStyle/>
                    <a:p>
                      <a:pPr algn="ctr" rtl="0" fontAlgn="ctr"/>
                      <a:r>
                        <a:rPr lang="en-GB" sz="900" b="0" i="0" u="none" strike="noStrike">
                          <a:solidFill>
                            <a:srgbClr val="000000"/>
                          </a:solidFill>
                          <a:effectLst/>
                          <a:latin typeface="Calibri" panose="020F0502020204030204" pitchFamily="34" charset="0"/>
                        </a:rPr>
                        <a:t>Giant</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169">
                <a:tc>
                  <a:txBody>
                    <a:bodyPr/>
                    <a:lstStyle/>
                    <a:p>
                      <a:pPr algn="ctr" rtl="0" fontAlgn="ctr"/>
                      <a:r>
                        <a:rPr lang="en-GB" sz="900" b="0" i="0" u="none" strike="noStrike">
                          <a:solidFill>
                            <a:srgbClr val="000000"/>
                          </a:solidFill>
                          <a:effectLst/>
                          <a:latin typeface="Calibri" panose="020F0502020204030204" pitchFamily="34" charset="0"/>
                        </a:rPr>
                        <a:t>Large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169">
                <a:tc>
                  <a:txBody>
                    <a:bodyPr/>
                    <a:lstStyle/>
                    <a:p>
                      <a:pPr algn="ctr" rtl="0" fontAlgn="ctr"/>
                      <a:r>
                        <a:rPr lang="en-GB" sz="900" b="0" i="0" u="none" strike="noStrike">
                          <a:solidFill>
                            <a:srgbClr val="000000"/>
                          </a:solidFill>
                          <a:effectLst/>
                          <a:latin typeface="Calibri" panose="020F0502020204030204" pitchFamily="34" charset="0"/>
                        </a:rPr>
                        <a:t>Mid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169">
                <a:tc>
                  <a:txBody>
                    <a:bodyPr/>
                    <a:lstStyle/>
                    <a:p>
                      <a:pPr algn="ctr" rtl="0" fontAlgn="ctr"/>
                      <a:r>
                        <a:rPr lang="en-GB" sz="900" b="0" i="0" u="none" strike="noStrike">
                          <a:solidFill>
                            <a:srgbClr val="000000"/>
                          </a:solidFill>
                          <a:effectLst/>
                          <a:latin typeface="Calibri" panose="020F0502020204030204" pitchFamily="34" charset="0"/>
                        </a:rPr>
                        <a:t>Small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14%</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10" name="Table 9"/>
          <p:cNvGraphicFramePr>
            <a:graphicFrameLocks noGrp="1"/>
          </p:cNvGraphicFramePr>
          <p:nvPr/>
        </p:nvGraphicFramePr>
        <p:xfrm>
          <a:off x="4656762" y="837073"/>
          <a:ext cx="1968500" cy="1970628"/>
        </p:xfrm>
        <a:graphic>
          <a:graphicData uri="http://schemas.openxmlformats.org/drawingml/2006/table">
            <a:tbl>
              <a:tblPr/>
              <a:tblGrid>
                <a:gridCol w="850468"/>
                <a:gridCol w="1118032"/>
              </a:tblGrid>
              <a:tr h="328438">
                <a:tc gridSpan="2">
                  <a:txBody>
                    <a:bodyPr/>
                    <a:lstStyle/>
                    <a:p>
                      <a:pPr algn="ctr" rtl="0" fontAlgn="ctr"/>
                      <a:r>
                        <a:rPr lang="en-US" sz="900" b="1" i="0" u="none" strike="noStrike" dirty="0">
                          <a:solidFill>
                            <a:srgbClr val="000000"/>
                          </a:solidFill>
                          <a:effectLst/>
                          <a:latin typeface="Calibri" panose="020F0502020204030204" pitchFamily="34" charset="0"/>
                        </a:rPr>
                        <a:t>Portfolio Concentration &amp; Metric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328438">
                <a:tc>
                  <a:txBody>
                    <a:bodyPr/>
                    <a:lstStyle/>
                    <a:p>
                      <a:pPr algn="ctr" rtl="0" fontAlgn="ctr"/>
                      <a:r>
                        <a:rPr lang="en-GB" sz="900" b="0" i="0" u="none" strike="noStrike">
                          <a:solidFill>
                            <a:srgbClr val="000000"/>
                          </a:solidFill>
                          <a:effectLst/>
                          <a:latin typeface="Calibri" panose="020F0502020204030204" pitchFamily="34" charset="0"/>
                        </a:rPr>
                        <a:t>Top 10 Stock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6.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8438">
                <a:tc>
                  <a:txBody>
                    <a:bodyPr/>
                    <a:lstStyle/>
                    <a:p>
                      <a:pPr algn="ctr" rtl="0" fontAlgn="ctr"/>
                      <a:r>
                        <a:rPr lang="en-GB" sz="900" b="0" i="0" u="none" strike="noStrike">
                          <a:solidFill>
                            <a:srgbClr val="000000"/>
                          </a:solidFill>
                          <a:effectLst/>
                          <a:latin typeface="Calibri" panose="020F0502020204030204" pitchFamily="34" charset="0"/>
                        </a:rPr>
                        <a:t>Top 5 Stock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5.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8438">
                <a:tc>
                  <a:txBody>
                    <a:bodyPr/>
                    <a:lstStyle/>
                    <a:p>
                      <a:pPr algn="ctr" rtl="0" fontAlgn="ctr"/>
                      <a:r>
                        <a:rPr lang="en-GB" sz="900" b="0" i="0" u="none" strike="noStrike">
                          <a:solidFill>
                            <a:srgbClr val="000000"/>
                          </a:solidFill>
                          <a:effectLst/>
                          <a:latin typeface="Calibri" panose="020F0502020204030204" pitchFamily="34" charset="0"/>
                        </a:rPr>
                        <a:t>Top 3 Sector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0.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8438">
                <a:tc>
                  <a:txBody>
                    <a:bodyPr/>
                    <a:lstStyle/>
                    <a:p>
                      <a:pPr algn="ctr" rtl="0" fontAlgn="ctr"/>
                      <a:r>
                        <a:rPr lang="en-GB" sz="900" b="0" i="0" u="none" strike="noStrike">
                          <a:solidFill>
                            <a:srgbClr val="000000"/>
                          </a:solidFill>
                          <a:effectLst/>
                          <a:latin typeface="Calibri" panose="020F0502020204030204" pitchFamily="34" charset="0"/>
                        </a:rPr>
                        <a:t>P/E Ratio</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8.1x </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8438">
                <a:tc>
                  <a:txBody>
                    <a:bodyPr/>
                    <a:lstStyle/>
                    <a:p>
                      <a:pPr algn="ctr" rtl="0" fontAlgn="ctr"/>
                      <a:r>
                        <a:rPr lang="en-GB" sz="900" b="0" i="0" u="none" strike="noStrike">
                          <a:solidFill>
                            <a:srgbClr val="000000"/>
                          </a:solidFill>
                          <a:effectLst/>
                          <a:latin typeface="Calibri" panose="020F0502020204030204" pitchFamily="34" charset="0"/>
                        </a:rPr>
                        <a:t>P/B Ratio</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4.1x</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1" name="Table 20"/>
          <p:cNvGraphicFramePr>
            <a:graphicFrameLocks noGrp="1"/>
          </p:cNvGraphicFramePr>
          <p:nvPr/>
        </p:nvGraphicFramePr>
        <p:xfrm>
          <a:off x="6749286" y="837073"/>
          <a:ext cx="2206827" cy="1970631"/>
        </p:xfrm>
        <a:graphic>
          <a:graphicData uri="http://schemas.openxmlformats.org/drawingml/2006/table">
            <a:tbl>
              <a:tblPr/>
              <a:tblGrid>
                <a:gridCol w="1213756"/>
                <a:gridCol w="993071"/>
              </a:tblGrid>
              <a:tr h="294477">
                <a:tc gridSpan="2">
                  <a:txBody>
                    <a:bodyPr/>
                    <a:lstStyle/>
                    <a:p>
                      <a:pPr algn="ctr" rtl="0" fontAlgn="ctr"/>
                      <a:r>
                        <a:rPr lang="en-US" sz="900" b="1" i="0" u="none" strike="noStrike" dirty="0">
                          <a:solidFill>
                            <a:srgbClr val="000000"/>
                          </a:solidFill>
                          <a:effectLst/>
                          <a:latin typeface="Calibri" panose="020F0502020204030204" pitchFamily="34" charset="0"/>
                        </a:rPr>
                        <a:t>Top Sectors </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79359">
                <a:tc>
                  <a:txBody>
                    <a:bodyPr/>
                    <a:lstStyle/>
                    <a:p>
                      <a:pPr algn="ctr" rtl="0" fontAlgn="ctr">
                        <a:buNone/>
                      </a:pPr>
                      <a:r>
                        <a:rPr lang="en-GB" sz="900" b="0" i="0" u="none" strike="noStrike">
                          <a:solidFill>
                            <a:srgbClr val="000000"/>
                          </a:solidFill>
                          <a:effectLst/>
                          <a:latin typeface="Calibri" panose="020F0502020204030204" pitchFamily="34" charset="0"/>
                        </a:rPr>
                        <a:t>Financial</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3.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buNone/>
                      </a:pPr>
                      <a:r>
                        <a:rPr lang="en-GB" sz="900" b="0" i="0" u="none" strike="noStrike">
                          <a:solidFill>
                            <a:srgbClr val="000000"/>
                          </a:solidFill>
                          <a:effectLst/>
                          <a:latin typeface="Calibri" panose="020F0502020204030204" pitchFamily="34" charset="0"/>
                        </a:rPr>
                        <a:t>Technolog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7.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buNone/>
                      </a:pPr>
                      <a:r>
                        <a:rPr lang="en-GB" sz="900" b="0" i="0" u="none" strike="noStrike">
                          <a:solidFill>
                            <a:srgbClr val="000000"/>
                          </a:solidFill>
                          <a:effectLst/>
                          <a:latin typeface="Calibri" panose="020F0502020204030204" pitchFamily="34" charset="0"/>
                        </a:rPr>
                        <a:t>Industrial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2.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buNone/>
                      </a:pPr>
                      <a:r>
                        <a:rPr lang="en-GB" sz="900" b="0" i="0" u="none" strike="noStrike">
                          <a:solidFill>
                            <a:srgbClr val="000000"/>
                          </a:solidFill>
                          <a:effectLst/>
                          <a:latin typeface="Calibri" panose="020F0502020204030204" pitchFamily="34" charset="0"/>
                        </a:rPr>
                        <a:t>Consumer Discretionar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1.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buNone/>
                      </a:pPr>
                      <a:r>
                        <a:rPr lang="en-GB" sz="900" b="0" i="0" u="none" strike="noStrike">
                          <a:solidFill>
                            <a:srgbClr val="000000"/>
                          </a:solidFill>
                          <a:effectLst/>
                          <a:latin typeface="Calibri" panose="020F0502020204030204" pitchFamily="34" charset="0"/>
                        </a:rPr>
                        <a:t>Healthcare</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7.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buNone/>
                      </a:pPr>
                      <a:r>
                        <a:rPr lang="en-GB" sz="900" b="0" i="0" u="none" strike="noStrike">
                          <a:solidFill>
                            <a:srgbClr val="000000"/>
                          </a:solidFill>
                          <a:effectLst/>
                          <a:latin typeface="Calibri" panose="020F0502020204030204" pitchFamily="34" charset="0"/>
                        </a:rPr>
                        <a:t>Consumer Stapl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4.5%</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3" name="Table 22"/>
          <p:cNvGraphicFramePr>
            <a:graphicFrameLocks noGrp="1"/>
          </p:cNvGraphicFramePr>
          <p:nvPr/>
        </p:nvGraphicFramePr>
        <p:xfrm>
          <a:off x="203198" y="2884020"/>
          <a:ext cx="2640564" cy="2136070"/>
        </p:xfrm>
        <a:graphic>
          <a:graphicData uri="http://schemas.openxmlformats.org/drawingml/2006/table">
            <a:tbl>
              <a:tblPr bandRow="1"/>
              <a:tblGrid>
                <a:gridCol w="660141"/>
                <a:gridCol w="660141"/>
                <a:gridCol w="660141"/>
                <a:gridCol w="660141"/>
              </a:tblGrid>
              <a:tr h="213607">
                <a:tc gridSpan="4">
                  <a:txBody>
                    <a:bodyPr/>
                    <a:lstStyle/>
                    <a:p>
                      <a:pPr algn="ctr" rtl="0" fontAlgn="ctr"/>
                      <a:r>
                        <a:rPr lang="en-US" sz="900" b="1" i="0" u="none" strike="noStrike" dirty="0">
                          <a:solidFill>
                            <a:srgbClr val="000000"/>
                          </a:solidFill>
                          <a:effectLst/>
                          <a:latin typeface="Calibri" panose="020F0502020204030204" pitchFamily="34" charset="0"/>
                        </a:rPr>
                        <a:t>CY Returns (As on 30th April’25)</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c hMerge="1">
                  <a:tcPr/>
                </a:tc>
                <a:tc hMerge="1">
                  <a:tcPr/>
                </a:tc>
              </a:tr>
              <a:tr h="213607">
                <a:tc>
                  <a:txBody>
                    <a:bodyPr/>
                    <a:lstStyle/>
                    <a:p>
                      <a:pPr algn="l" rtl="0" fontAlgn="ctr"/>
                      <a:endParaRPr lang="en-US"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dirty="0">
                          <a:solidFill>
                            <a:srgbClr val="000000"/>
                          </a:solidFill>
                          <a:effectLst/>
                          <a:latin typeface="Calibri" panose="020F0502020204030204" pitchFamily="34" charset="0"/>
                        </a:rPr>
                        <a:t>Fund</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dirty="0">
                          <a:solidFill>
                            <a:srgbClr val="000000"/>
                          </a:solidFill>
                          <a:effectLst/>
                          <a:latin typeface="Calibri" panose="020F0502020204030204" pitchFamily="34" charset="0"/>
                        </a:rPr>
                        <a:t>BSE 500 TRI </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dirty="0">
                          <a:solidFill>
                            <a:srgbClr val="000000"/>
                          </a:solidFill>
                          <a:effectLst/>
                          <a:latin typeface="Calibri" panose="020F0502020204030204" pitchFamily="34" charset="0"/>
                        </a:rPr>
                        <a:t>Alpha</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13607">
                <a:tc>
                  <a:txBody>
                    <a:bodyPr/>
                    <a:lstStyle/>
                    <a:p>
                      <a:pPr algn="ctr" rtl="0" fontAlgn="ctr"/>
                      <a:r>
                        <a:rPr lang="en-US" sz="900" b="1" i="0" u="none" strike="noStrike" dirty="0">
                          <a:solidFill>
                            <a:srgbClr val="000000"/>
                          </a:solidFill>
                          <a:effectLst/>
                          <a:latin typeface="Calibri" panose="020F0502020204030204" pitchFamily="34" charset="0"/>
                        </a:rPr>
                        <a:t>2025 YTD</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1.8%</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13607">
                <a:tc>
                  <a:txBody>
                    <a:bodyPr/>
                    <a:lstStyle/>
                    <a:p>
                      <a:pPr marL="0" marR="0" lvl="0" indent="0" algn="ctr" defTabSz="914400" rtl="0" eaLnBrk="1" fontAlgn="ctr" latinLnBrk="1" hangingPunct="1">
                        <a:lnSpc>
                          <a:spcPct val="100000"/>
                        </a:lnSpc>
                        <a:spcBef>
                          <a:spcPts val="0"/>
                        </a:spcBef>
                        <a:spcAft>
                          <a:spcPts val="0"/>
                        </a:spcAft>
                        <a:buClrTx/>
                        <a:buSzTx/>
                        <a:buFontTx/>
                        <a:buNone/>
                        <a:defRPr/>
                      </a:pPr>
                      <a:r>
                        <a:rPr lang="en-US" sz="900" b="1" i="0" u="none" strike="noStrike" dirty="0">
                          <a:solidFill>
                            <a:srgbClr val="000000"/>
                          </a:solidFill>
                          <a:effectLst/>
                          <a:latin typeface="Calibri" panose="020F0502020204030204" pitchFamily="34" charset="0"/>
                        </a:rPr>
                        <a:t>2024</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5.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5.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9.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13607">
                <a:tc>
                  <a:txBody>
                    <a:bodyPr/>
                    <a:lstStyle/>
                    <a:p>
                      <a:pPr algn="ctr" rtl="0" fontAlgn="ctr"/>
                      <a:r>
                        <a:rPr lang="en-US" sz="900" b="1" i="0" u="none" strike="noStrike" dirty="0">
                          <a:solidFill>
                            <a:srgbClr val="000000"/>
                          </a:solidFill>
                          <a:effectLst/>
                          <a:latin typeface="Calibri" panose="020F0502020204030204" pitchFamily="34" charset="0"/>
                        </a:rPr>
                        <a:t>2023 </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3.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6.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6.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13607">
                <a:tc>
                  <a:txBody>
                    <a:bodyPr/>
                    <a:lstStyle/>
                    <a:p>
                      <a:pPr algn="ctr" rtl="0" fontAlgn="ctr"/>
                      <a:r>
                        <a:rPr lang="en-US" sz="800" b="1" i="0" u="none" strike="noStrike" dirty="0">
                          <a:solidFill>
                            <a:srgbClr val="000000"/>
                          </a:solidFill>
                          <a:effectLst/>
                          <a:latin typeface="Calibri" panose="020F0502020204030204" pitchFamily="34" charset="0"/>
                        </a:rPr>
                        <a:t>2022 (Aug’22)</a:t>
                      </a:r>
                      <a:endParaRPr lang="en-US" sz="8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13607">
                <a:tc>
                  <a:txBody>
                    <a:bodyPr/>
                    <a:lstStyle/>
                    <a:p>
                      <a:pPr algn="ctr" rtl="0" fontAlgn="ctr"/>
                      <a:r>
                        <a:rPr lang="en-US" sz="900" b="1" i="0" u="none" strike="noStrike" dirty="0">
                          <a:solidFill>
                            <a:srgbClr val="000000"/>
                          </a:solidFill>
                          <a:effectLst/>
                          <a:latin typeface="Calibri" panose="020F0502020204030204" pitchFamily="34" charset="0"/>
                        </a:rPr>
                        <a:t>2021</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NA</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NA</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NA</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13607">
                <a:tc>
                  <a:txBody>
                    <a:bodyPr/>
                    <a:lstStyle/>
                    <a:p>
                      <a:pPr algn="ctr" rtl="0" fontAlgn="ctr"/>
                      <a:r>
                        <a:rPr lang="en-US" sz="900" b="1" i="0" u="none" strike="noStrike" dirty="0">
                          <a:solidFill>
                            <a:srgbClr val="000000"/>
                          </a:solidFill>
                          <a:effectLst/>
                          <a:latin typeface="Calibri" panose="020F0502020204030204" pitchFamily="34" charset="0"/>
                        </a:rPr>
                        <a:t>2020</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NA</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NA</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NA</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13607">
                <a:tc>
                  <a:txBody>
                    <a:bodyPr/>
                    <a:lstStyle/>
                    <a:p>
                      <a:pPr algn="ctr" rtl="0" fontAlgn="ctr"/>
                      <a:r>
                        <a:rPr lang="en-US" sz="900" b="1" i="0" u="none" strike="noStrike" dirty="0">
                          <a:solidFill>
                            <a:srgbClr val="000000"/>
                          </a:solidFill>
                          <a:effectLst/>
                          <a:latin typeface="Calibri" panose="020F0502020204030204" pitchFamily="34" charset="0"/>
                        </a:rPr>
                        <a:t>2019</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NA</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NA</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NA</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13607">
                <a:tc>
                  <a:txBody>
                    <a:bodyPr/>
                    <a:lstStyle/>
                    <a:p>
                      <a:pPr algn="ctr" rtl="0" fontAlgn="ctr"/>
                      <a:r>
                        <a:rPr lang="en-US" sz="900" b="1" i="0" u="none" strike="noStrike" dirty="0">
                          <a:solidFill>
                            <a:srgbClr val="000000"/>
                          </a:solidFill>
                          <a:effectLst/>
                          <a:latin typeface="Calibri" panose="020F0502020204030204" pitchFamily="34" charset="0"/>
                        </a:rPr>
                        <a:t>2018</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NA</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NA</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NA</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30" name="Table 29"/>
          <p:cNvGraphicFramePr>
            <a:graphicFrameLocks noGrp="1"/>
          </p:cNvGraphicFramePr>
          <p:nvPr/>
        </p:nvGraphicFramePr>
        <p:xfrm>
          <a:off x="3066142" y="2884020"/>
          <a:ext cx="2133600" cy="2136069"/>
        </p:xfrm>
        <a:graphic>
          <a:graphicData uri="http://schemas.openxmlformats.org/drawingml/2006/table">
            <a:tbl>
              <a:tblPr bandRow="1"/>
              <a:tblGrid>
                <a:gridCol w="1397000"/>
                <a:gridCol w="736600"/>
              </a:tblGrid>
              <a:tr h="237341">
                <a:tc>
                  <a:txBody>
                    <a:bodyPr/>
                    <a:lstStyle/>
                    <a:p>
                      <a:pPr algn="ctr" fontAlgn="ctr"/>
                      <a:r>
                        <a:rPr lang="en-US" sz="900" b="1" i="0" u="none" strike="noStrike" dirty="0">
                          <a:solidFill>
                            <a:srgbClr val="000000"/>
                          </a:solidFill>
                          <a:effectLst/>
                          <a:latin typeface="Calibri" panose="020F0502020204030204" pitchFamily="34" charset="0"/>
                        </a:rPr>
                        <a:t>Top Holding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a:txBody>
                    <a:bodyPr/>
                    <a:lstStyle/>
                    <a:p>
                      <a:pPr algn="ctr" fontAlgn="ctr"/>
                      <a:r>
                        <a:rPr lang="en-US" sz="900" b="1" i="0" u="none" strike="noStrike" dirty="0">
                          <a:solidFill>
                            <a:srgbClr val="000000"/>
                          </a:solidFill>
                          <a:effectLst/>
                          <a:latin typeface="Calibri" panose="020F0502020204030204" pitchFamily="34" charset="0"/>
                        </a:rPr>
                        <a:t>% Allocation</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r>
              <a:tr h="237341">
                <a:tc>
                  <a:txBody>
                    <a:bodyPr/>
                    <a:lstStyle/>
                    <a:p>
                      <a:pPr algn="ctr" rtl="0" fontAlgn="ctr">
                        <a:buNone/>
                      </a:pPr>
                      <a:r>
                        <a:rPr lang="en-GB" sz="900" b="0" i="0" u="none" strike="noStrike">
                          <a:solidFill>
                            <a:srgbClr val="000000"/>
                          </a:solidFill>
                          <a:effectLst/>
                          <a:latin typeface="Calibri" panose="020F0502020204030204" pitchFamily="34" charset="0"/>
                        </a:rPr>
                        <a:t> ICICI Ban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buNone/>
                      </a:pPr>
                      <a:r>
                        <a:rPr lang="en-GB" sz="900" b="0" i="0" u="none" strike="noStrike">
                          <a:solidFill>
                            <a:srgbClr val="000000"/>
                          </a:solidFill>
                          <a:effectLst/>
                          <a:latin typeface="Calibri" panose="020F0502020204030204" pitchFamily="34" charset="0"/>
                        </a:rPr>
                        <a:t>9.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buNone/>
                      </a:pPr>
                      <a:r>
                        <a:rPr lang="en-GB" sz="900" b="0" i="0" u="none" strike="noStrike">
                          <a:solidFill>
                            <a:srgbClr val="000000"/>
                          </a:solidFill>
                          <a:effectLst/>
                          <a:latin typeface="Calibri" panose="020F0502020204030204" pitchFamily="34" charset="0"/>
                        </a:rPr>
                        <a:t> HDFC Ban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buNone/>
                      </a:pPr>
                      <a:r>
                        <a:rPr lang="en-GB" sz="900" b="0" i="0" u="none" strike="noStrike">
                          <a:solidFill>
                            <a:srgbClr val="000000"/>
                          </a:solidFill>
                          <a:effectLst/>
                          <a:latin typeface="Calibri" panose="020F0502020204030204" pitchFamily="34" charset="0"/>
                        </a:rPr>
                        <a:t>7.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buNone/>
                      </a:pPr>
                      <a:r>
                        <a:rPr lang="en-GB" sz="900" b="0" i="0" u="none" strike="noStrike">
                          <a:solidFill>
                            <a:srgbClr val="000000"/>
                          </a:solidFill>
                          <a:effectLst/>
                          <a:latin typeface="Calibri" panose="020F0502020204030204" pitchFamily="34" charset="0"/>
                        </a:rPr>
                        <a:t> Bharti Airtel</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buNone/>
                      </a:pPr>
                      <a:r>
                        <a:rPr lang="en-GB" sz="900" b="0" i="0" u="none" strike="noStrike">
                          <a:solidFill>
                            <a:srgbClr val="000000"/>
                          </a:solidFill>
                          <a:effectLst/>
                          <a:latin typeface="Calibri" panose="020F0502020204030204" pitchFamily="34" charset="0"/>
                        </a:rPr>
                        <a:t>3.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buNone/>
                      </a:pPr>
                      <a:r>
                        <a:rPr lang="en-GB" sz="900" b="0" i="0" u="none" strike="noStrike">
                          <a:solidFill>
                            <a:srgbClr val="000000"/>
                          </a:solidFill>
                          <a:effectLst/>
                          <a:latin typeface="Calibri" panose="020F0502020204030204" pitchFamily="34" charset="0"/>
                        </a:rPr>
                        <a:t> Mahindra &amp; Mahindra</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buNone/>
                      </a:pPr>
                      <a:r>
                        <a:rPr lang="en-GB" sz="900" b="0" i="0" u="none" strike="noStrike">
                          <a:solidFill>
                            <a:srgbClr val="000000"/>
                          </a:solidFill>
                          <a:effectLst/>
                          <a:latin typeface="Calibri" panose="020F0502020204030204" pitchFamily="34" charset="0"/>
                        </a:rPr>
                        <a:t>2.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buNone/>
                      </a:pPr>
                      <a:r>
                        <a:rPr lang="en-GB" sz="900" b="0" i="0" u="none" strike="noStrike">
                          <a:solidFill>
                            <a:srgbClr val="000000"/>
                          </a:solidFill>
                          <a:effectLst/>
                          <a:latin typeface="Calibri" panose="020F0502020204030204" pitchFamily="34" charset="0"/>
                        </a:rPr>
                        <a:t> Eternal</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buNone/>
                      </a:pPr>
                      <a:r>
                        <a:rPr lang="en-GB" sz="900" b="0" i="0" u="none" strike="noStrike">
                          <a:solidFill>
                            <a:srgbClr val="000000"/>
                          </a:solidFill>
                          <a:effectLst/>
                          <a:latin typeface="Calibri" panose="020F0502020204030204" pitchFamily="34" charset="0"/>
                        </a:rPr>
                        <a:t>2.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buNone/>
                      </a:pPr>
                      <a:r>
                        <a:rPr lang="en-GB" sz="900" b="0" i="0" u="none" strike="noStrike">
                          <a:solidFill>
                            <a:srgbClr val="000000"/>
                          </a:solidFill>
                          <a:effectLst/>
                          <a:latin typeface="Calibri" panose="020F0502020204030204" pitchFamily="34" charset="0"/>
                        </a:rPr>
                        <a:t> Kotak Ban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buNone/>
                      </a:pPr>
                      <a:r>
                        <a:rPr lang="en-GB" sz="900" b="0" i="0" u="none" strike="noStrike">
                          <a:solidFill>
                            <a:srgbClr val="000000"/>
                          </a:solidFill>
                          <a:effectLst/>
                          <a:latin typeface="Calibri" panose="020F0502020204030204" pitchFamily="34" charset="0"/>
                        </a:rPr>
                        <a:t>2.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buNone/>
                      </a:pPr>
                      <a:r>
                        <a:rPr lang="en-GB" sz="900" b="0" i="0" u="none" strike="noStrike">
                          <a:solidFill>
                            <a:srgbClr val="000000"/>
                          </a:solidFill>
                          <a:effectLst/>
                          <a:latin typeface="Calibri" panose="020F0502020204030204" pitchFamily="34" charset="0"/>
                        </a:rPr>
                        <a:t> Reliance Ind</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buNone/>
                      </a:pPr>
                      <a:r>
                        <a:rPr lang="en-GB" sz="900" b="0" i="0" u="none" strike="noStrike">
                          <a:solidFill>
                            <a:srgbClr val="000000"/>
                          </a:solidFill>
                          <a:effectLst/>
                          <a:latin typeface="Calibri" panose="020F0502020204030204" pitchFamily="34" charset="0"/>
                        </a:rPr>
                        <a:t>2.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buNone/>
                      </a:pPr>
                      <a:r>
                        <a:rPr lang="en-GB" sz="900" b="0" i="0" u="none" strike="noStrike">
                          <a:solidFill>
                            <a:srgbClr val="000000"/>
                          </a:solidFill>
                          <a:effectLst/>
                          <a:latin typeface="Calibri" panose="020F0502020204030204" pitchFamily="34" charset="0"/>
                        </a:rPr>
                        <a:t> Larsen &amp; Toubro</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buNone/>
                      </a:pPr>
                      <a:r>
                        <a:rPr lang="en-GB" sz="900" b="0" i="0" u="none" strike="noStrike" dirty="0">
                          <a:solidFill>
                            <a:srgbClr val="000000"/>
                          </a:solidFill>
                          <a:effectLst/>
                          <a:latin typeface="Calibri" panose="020F0502020204030204" pitchFamily="34" charset="0"/>
                        </a:rPr>
                        <a:t>2.1</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 name="Chart 1"/>
          <p:cNvGraphicFramePr/>
          <p:nvPr/>
        </p:nvGraphicFramePr>
        <p:xfrm>
          <a:off x="5364110" y="2884020"/>
          <a:ext cx="3723447" cy="2203494"/>
        </p:xfrm>
        <a:graphic>
          <a:graphicData uri="http://schemas.openxmlformats.org/drawingml/2006/chart">
            <c:chart xmlns:c="http://schemas.openxmlformats.org/drawingml/2006/chart" xmlns:r="http://schemas.openxmlformats.org/officeDocument/2006/relationships" r:id="rId1"/>
          </a:graphicData>
        </a:graphic>
      </p:graphicFrame>
    </p:spTree>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9" name="Title 10"/>
          <p:cNvSpPr txBox="1"/>
          <p:nvPr/>
        </p:nvSpPr>
        <p:spPr>
          <a:xfrm>
            <a:off x="268512" y="220710"/>
            <a:ext cx="6643663" cy="374713"/>
          </a:xfrm>
          <a:prstGeom prst="rect">
            <a:avLst/>
          </a:prstGeom>
        </p:spPr>
        <p:txBody>
          <a:bodyPr lIns="0" tIns="0" rIns="0" bIns="0"/>
          <a:lstStyle/>
          <a:p>
            <a:pPr>
              <a:lnSpc>
                <a:spcPts val="2700"/>
              </a:lnSpc>
              <a:defRPr/>
            </a:pPr>
            <a:r>
              <a:rPr lang="en-IN" sz="1400" b="1" dirty="0">
                <a:ln>
                  <a:solidFill>
                    <a:schemeClr val="accent2"/>
                  </a:solidFill>
                </a:ln>
                <a:latin typeface="Calibri" panose="020F0502020204030204" pitchFamily="34" charset="0"/>
                <a:cs typeface="Calibri" panose="020F0502020204030204" pitchFamily="34" charset="0"/>
              </a:rPr>
              <a:t> </a:t>
            </a:r>
            <a:r>
              <a:rPr lang="en-IN" sz="1400" dirty="0">
                <a:ln>
                  <a:solidFill>
                    <a:sysClr val="windowText" lastClr="000000"/>
                  </a:solidFill>
                </a:ln>
                <a:solidFill>
                  <a:sysClr val="windowText" lastClr="000000"/>
                </a:solidFill>
                <a:latin typeface="Calibri" panose="020F0502020204030204" pitchFamily="34" charset="0"/>
                <a:cs typeface="Calibri" panose="020F0502020204030204" pitchFamily="34" charset="0"/>
              </a:rPr>
              <a:t>Nippon India Large Cap </a:t>
            </a:r>
            <a:endParaRPr lang="en-US" sz="1400" dirty="0">
              <a:solidFill>
                <a:schemeClr val="tx1">
                  <a:lumMod val="85000"/>
                  <a:lumOff val="15000"/>
                </a:schemeClr>
              </a:solidFill>
              <a:latin typeface="Calibri" panose="020F0502020204030204" pitchFamily="34" charset="0"/>
              <a:ea typeface="+mj-ea"/>
              <a:cs typeface="Calibri" panose="020F0502020204030204" pitchFamily="34" charset="0"/>
            </a:endParaRPr>
          </a:p>
        </p:txBody>
      </p:sp>
      <p:graphicFrame>
        <p:nvGraphicFramePr>
          <p:cNvPr id="3" name="Table 2"/>
          <p:cNvGraphicFramePr>
            <a:graphicFrameLocks noGrp="1"/>
          </p:cNvGraphicFramePr>
          <p:nvPr/>
        </p:nvGraphicFramePr>
        <p:xfrm>
          <a:off x="203198" y="837076"/>
          <a:ext cx="2208503" cy="1970626"/>
        </p:xfrm>
        <a:graphic>
          <a:graphicData uri="http://schemas.openxmlformats.org/drawingml/2006/table">
            <a:tbl>
              <a:tblPr/>
              <a:tblGrid>
                <a:gridCol w="1200362"/>
                <a:gridCol w="1008141"/>
              </a:tblGrid>
              <a:tr h="334474">
                <a:tc gridSpan="2">
                  <a:txBody>
                    <a:bodyPr/>
                    <a:lstStyle/>
                    <a:p>
                      <a:pPr algn="ctr" rtl="0" fontAlgn="ctr"/>
                      <a:r>
                        <a:rPr lang="en-US" sz="900" b="1" i="0" u="none" strike="noStrike" dirty="0">
                          <a:solidFill>
                            <a:srgbClr val="000000"/>
                          </a:solidFill>
                          <a:effectLst/>
                          <a:latin typeface="Calibri" panose="020F0502020204030204" pitchFamily="34" charset="0"/>
                        </a:rPr>
                        <a:t>Key Detail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72692">
                <a:tc>
                  <a:txBody>
                    <a:bodyPr/>
                    <a:lstStyle/>
                    <a:p>
                      <a:pPr algn="ctr" rtl="0" fontAlgn="ctr"/>
                      <a:r>
                        <a:rPr lang="en-GB" sz="900" b="0" i="0" u="none" strike="noStrike">
                          <a:solidFill>
                            <a:srgbClr val="000000"/>
                          </a:solidFill>
                          <a:effectLst/>
                          <a:latin typeface="Calibri" panose="020F0502020204030204" pitchFamily="34" charset="0"/>
                        </a:rPr>
                        <a:t>Inception</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Jan-1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a:solidFill>
                            <a:srgbClr val="000000"/>
                          </a:solidFill>
                          <a:effectLst/>
                          <a:latin typeface="Calibri" panose="020F0502020204030204" pitchFamily="34" charset="0"/>
                        </a:rPr>
                        <a:t>Categor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Large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a:solidFill>
                            <a:srgbClr val="000000"/>
                          </a:solidFill>
                          <a:effectLst/>
                          <a:latin typeface="Calibri" panose="020F0502020204030204" pitchFamily="34" charset="0"/>
                        </a:rPr>
                        <a:t>AUM (Rs Cror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1,75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a:solidFill>
                            <a:srgbClr val="000000"/>
                          </a:solidFill>
                          <a:effectLst/>
                          <a:latin typeface="Calibri" panose="020F0502020204030204" pitchFamily="34" charset="0"/>
                        </a:rPr>
                        <a:t>Benchmar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BSE 100 TRI</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a:solidFill>
                            <a:srgbClr val="000000"/>
                          </a:solidFill>
                          <a:effectLst/>
                          <a:latin typeface="Calibri" panose="020F0502020204030204" pitchFamily="34" charset="0"/>
                        </a:rPr>
                        <a:t>Fund Manager</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Sailesh Raj Bhan</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dirty="0">
                          <a:solidFill>
                            <a:srgbClr val="000000"/>
                          </a:solidFill>
                          <a:effectLst/>
                          <a:latin typeface="Calibri" panose="020F0502020204030204" pitchFamily="34" charset="0"/>
                        </a:rPr>
                        <a:t>Expense Ratio</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0.67%</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5" name="Table 4"/>
          <p:cNvGraphicFramePr>
            <a:graphicFrameLocks noGrp="1"/>
          </p:cNvGraphicFramePr>
          <p:nvPr/>
        </p:nvGraphicFramePr>
        <p:xfrm>
          <a:off x="2480183" y="837073"/>
          <a:ext cx="2108096" cy="1979522"/>
        </p:xfrm>
        <a:graphic>
          <a:graphicData uri="http://schemas.openxmlformats.org/drawingml/2006/table">
            <a:tbl>
              <a:tblPr/>
              <a:tblGrid>
                <a:gridCol w="1328737"/>
                <a:gridCol w="779359"/>
              </a:tblGrid>
              <a:tr h="280489">
                <a:tc gridSpan="2">
                  <a:txBody>
                    <a:bodyPr/>
                    <a:lstStyle/>
                    <a:p>
                      <a:pPr algn="ctr" rtl="0" fontAlgn="ctr"/>
                      <a:r>
                        <a:rPr lang="en-US" sz="900" b="1" i="0" u="none" strike="noStrike" dirty="0">
                          <a:solidFill>
                            <a:srgbClr val="000000"/>
                          </a:solidFill>
                          <a:effectLst/>
                          <a:latin typeface="Calibri" panose="020F0502020204030204" pitchFamily="34" charset="0"/>
                        </a:rPr>
                        <a:t>Portfolio Aggregate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42719">
                <a:tc>
                  <a:txBody>
                    <a:bodyPr/>
                    <a:lstStyle/>
                    <a:p>
                      <a:pPr algn="ctr" rtl="0" fontAlgn="ctr"/>
                      <a:r>
                        <a:rPr lang="en-US" sz="900" b="0" i="0" u="none" strike="noStrike" dirty="0">
                          <a:solidFill>
                            <a:srgbClr val="000000"/>
                          </a:solidFill>
                          <a:effectLst/>
                          <a:latin typeface="Calibri" panose="020F0502020204030204" pitchFamily="34" charset="0"/>
                        </a:rPr>
                        <a:t>No of Stocks</a:t>
                      </a:r>
                      <a:endParaRPr lang="en-US"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6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US" sz="900" b="0" i="0" u="none" strike="noStrike" dirty="0">
                          <a:solidFill>
                            <a:srgbClr val="000000"/>
                          </a:solidFill>
                          <a:effectLst/>
                          <a:latin typeface="Calibri" panose="020F0502020204030204" pitchFamily="34" charset="0"/>
                        </a:rPr>
                        <a:t>Avg Mkt Cap (Rs Lac Crores)</a:t>
                      </a:r>
                      <a:endParaRPr lang="en-US"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US" sz="900" b="0" i="0" u="none" strike="noStrike" dirty="0">
                          <a:solidFill>
                            <a:srgbClr val="000000"/>
                          </a:solidFill>
                          <a:effectLst/>
                          <a:latin typeface="Calibri" panose="020F0502020204030204" pitchFamily="34" charset="0"/>
                        </a:rPr>
                        <a:t>Investing Style </a:t>
                      </a:r>
                      <a:endParaRPr lang="en-US"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GAR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US" sz="900" b="0" i="0" u="none" strike="noStrike" dirty="0">
                          <a:solidFill>
                            <a:srgbClr val="000000"/>
                          </a:solidFill>
                          <a:effectLst/>
                          <a:latin typeface="Calibri" panose="020F0502020204030204" pitchFamily="34" charset="0"/>
                        </a:rPr>
                        <a:t>Giant</a:t>
                      </a:r>
                      <a:endParaRPr lang="en-US"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7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US" sz="900" b="0" i="0" u="none" strike="noStrike" dirty="0">
                          <a:solidFill>
                            <a:srgbClr val="000000"/>
                          </a:solidFill>
                          <a:effectLst/>
                          <a:latin typeface="Calibri" panose="020F0502020204030204" pitchFamily="34" charset="0"/>
                        </a:rPr>
                        <a:t>Large Cap</a:t>
                      </a:r>
                      <a:endParaRPr lang="en-US"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US" sz="900" b="0" i="0" u="none" strike="noStrike" dirty="0">
                          <a:solidFill>
                            <a:srgbClr val="000000"/>
                          </a:solidFill>
                          <a:effectLst/>
                          <a:latin typeface="Calibri" panose="020F0502020204030204" pitchFamily="34" charset="0"/>
                        </a:rPr>
                        <a:t>Mid Cap</a:t>
                      </a:r>
                      <a:endParaRPr lang="en-US"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US" sz="900" b="0" i="0" u="none" strike="noStrike" dirty="0">
                          <a:solidFill>
                            <a:srgbClr val="000000"/>
                          </a:solidFill>
                          <a:effectLst/>
                          <a:latin typeface="Calibri" panose="020F0502020204030204" pitchFamily="34" charset="0"/>
                        </a:rPr>
                        <a:t>Small Cap</a:t>
                      </a:r>
                      <a:endParaRPr lang="en-US"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0%</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10" name="Table 9"/>
          <p:cNvGraphicFramePr>
            <a:graphicFrameLocks noGrp="1"/>
          </p:cNvGraphicFramePr>
          <p:nvPr/>
        </p:nvGraphicFramePr>
        <p:xfrm>
          <a:off x="4683402" y="837072"/>
          <a:ext cx="1968500" cy="1970628"/>
        </p:xfrm>
        <a:graphic>
          <a:graphicData uri="http://schemas.openxmlformats.org/drawingml/2006/table">
            <a:tbl>
              <a:tblPr/>
              <a:tblGrid>
                <a:gridCol w="850468"/>
                <a:gridCol w="1118032"/>
              </a:tblGrid>
              <a:tr h="328438">
                <a:tc gridSpan="2">
                  <a:txBody>
                    <a:bodyPr/>
                    <a:lstStyle/>
                    <a:p>
                      <a:pPr algn="ctr" rtl="0" fontAlgn="ctr"/>
                      <a:r>
                        <a:rPr lang="en-US" sz="900" b="1" i="0" u="none" strike="noStrike" dirty="0">
                          <a:solidFill>
                            <a:srgbClr val="000000"/>
                          </a:solidFill>
                          <a:effectLst/>
                          <a:latin typeface="Calibri" panose="020F0502020204030204" pitchFamily="34" charset="0"/>
                        </a:rPr>
                        <a:t>Portfolio Concentration &amp; Metric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328438">
                <a:tc>
                  <a:txBody>
                    <a:bodyPr/>
                    <a:lstStyle/>
                    <a:p>
                      <a:pPr algn="ctr" rtl="0" fontAlgn="ctr"/>
                      <a:r>
                        <a:rPr lang="en-GB" sz="900" b="0" i="0" u="none" strike="noStrike">
                          <a:solidFill>
                            <a:srgbClr val="000000"/>
                          </a:solidFill>
                          <a:effectLst/>
                          <a:latin typeface="Calibri" panose="020F0502020204030204" pitchFamily="34" charset="0"/>
                        </a:rPr>
                        <a:t>Top 10 Stock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5.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8438">
                <a:tc>
                  <a:txBody>
                    <a:bodyPr/>
                    <a:lstStyle/>
                    <a:p>
                      <a:pPr algn="ctr" rtl="0" fontAlgn="ctr"/>
                      <a:r>
                        <a:rPr lang="en-GB" sz="900" b="0" i="0" u="none" strike="noStrike" dirty="0">
                          <a:solidFill>
                            <a:srgbClr val="000000"/>
                          </a:solidFill>
                          <a:effectLst/>
                          <a:latin typeface="Calibri" panose="020F0502020204030204" pitchFamily="34" charset="0"/>
                        </a:rPr>
                        <a:t>Top 5 Stocks</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0.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8438">
                <a:tc>
                  <a:txBody>
                    <a:bodyPr/>
                    <a:lstStyle/>
                    <a:p>
                      <a:pPr algn="ctr" rtl="0" fontAlgn="ctr"/>
                      <a:r>
                        <a:rPr lang="en-GB" sz="900" b="0" i="0" u="none" strike="noStrike">
                          <a:solidFill>
                            <a:srgbClr val="000000"/>
                          </a:solidFill>
                          <a:effectLst/>
                          <a:latin typeface="Calibri" panose="020F0502020204030204" pitchFamily="34" charset="0"/>
                        </a:rPr>
                        <a:t>Top 3 Sector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4.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8438">
                <a:tc>
                  <a:txBody>
                    <a:bodyPr/>
                    <a:lstStyle/>
                    <a:p>
                      <a:pPr algn="ctr" rtl="0" fontAlgn="ctr"/>
                      <a:r>
                        <a:rPr lang="en-GB" sz="900" b="0" i="0" u="none" strike="noStrike">
                          <a:solidFill>
                            <a:srgbClr val="000000"/>
                          </a:solidFill>
                          <a:effectLst/>
                          <a:latin typeface="Calibri" panose="020F0502020204030204" pitchFamily="34" charset="0"/>
                        </a:rPr>
                        <a:t>P/E Ratio</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4.0x</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8438">
                <a:tc>
                  <a:txBody>
                    <a:bodyPr/>
                    <a:lstStyle/>
                    <a:p>
                      <a:pPr algn="ctr" rtl="0" fontAlgn="ctr"/>
                      <a:r>
                        <a:rPr lang="en-GB" sz="900" b="0" i="0" u="none" strike="noStrike">
                          <a:solidFill>
                            <a:srgbClr val="000000"/>
                          </a:solidFill>
                          <a:effectLst/>
                          <a:latin typeface="Calibri" panose="020F0502020204030204" pitchFamily="34" charset="0"/>
                        </a:rPr>
                        <a:t>P/B Ratio</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3.7x</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1" name="Table 20"/>
          <p:cNvGraphicFramePr>
            <a:graphicFrameLocks noGrp="1"/>
          </p:cNvGraphicFramePr>
          <p:nvPr/>
        </p:nvGraphicFramePr>
        <p:xfrm>
          <a:off x="6747025" y="837073"/>
          <a:ext cx="2193777" cy="1970631"/>
        </p:xfrm>
        <a:graphic>
          <a:graphicData uri="http://schemas.openxmlformats.org/drawingml/2006/table">
            <a:tbl>
              <a:tblPr/>
              <a:tblGrid>
                <a:gridCol w="1206577"/>
                <a:gridCol w="987200"/>
              </a:tblGrid>
              <a:tr h="294477">
                <a:tc gridSpan="2">
                  <a:txBody>
                    <a:bodyPr/>
                    <a:lstStyle/>
                    <a:p>
                      <a:pPr algn="ctr" rtl="0" fontAlgn="ctr"/>
                      <a:r>
                        <a:rPr lang="en-US" sz="900" b="1" i="0" u="none" strike="noStrike" dirty="0">
                          <a:solidFill>
                            <a:srgbClr val="000000"/>
                          </a:solidFill>
                          <a:effectLst/>
                          <a:latin typeface="Calibri" panose="020F0502020204030204" pitchFamily="34" charset="0"/>
                        </a:rPr>
                        <a:t>Top Sectors </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79359">
                <a:tc>
                  <a:txBody>
                    <a:bodyPr/>
                    <a:lstStyle/>
                    <a:p>
                      <a:pPr algn="ctr" rtl="0" fontAlgn="ctr"/>
                      <a:r>
                        <a:rPr lang="en-GB" sz="900" b="0" i="0" u="none" strike="noStrike">
                          <a:solidFill>
                            <a:srgbClr val="000000"/>
                          </a:solidFill>
                          <a:effectLst/>
                          <a:latin typeface="Calibri" panose="020F0502020204030204" pitchFamily="34" charset="0"/>
                        </a:rPr>
                        <a:t>Financial</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4.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Energy &amp; Utiliti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3.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Consumer Discretionar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1.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Consumer Stapl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9.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Industrial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9.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Technolog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9.0%</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3" name="Table 22"/>
          <p:cNvGraphicFramePr>
            <a:graphicFrameLocks noGrp="1"/>
          </p:cNvGraphicFramePr>
          <p:nvPr/>
        </p:nvGraphicFramePr>
        <p:xfrm>
          <a:off x="203198" y="2884021"/>
          <a:ext cx="2641600" cy="2136068"/>
        </p:xfrm>
        <a:graphic>
          <a:graphicData uri="http://schemas.openxmlformats.org/drawingml/2006/table">
            <a:tbl>
              <a:tblPr bandRow="1"/>
              <a:tblGrid>
                <a:gridCol w="660400"/>
                <a:gridCol w="660400"/>
                <a:gridCol w="660400"/>
                <a:gridCol w="660400"/>
              </a:tblGrid>
              <a:tr h="194188">
                <a:tc gridSpan="4">
                  <a:txBody>
                    <a:bodyPr/>
                    <a:lstStyle/>
                    <a:p>
                      <a:pPr algn="ctr" rtl="0" fontAlgn="ctr"/>
                      <a:r>
                        <a:rPr lang="en-US" sz="900" b="1" i="0" u="none" strike="noStrike" dirty="0">
                          <a:solidFill>
                            <a:srgbClr val="000000"/>
                          </a:solidFill>
                          <a:effectLst/>
                          <a:latin typeface="Calibri" panose="020F0502020204030204" pitchFamily="34" charset="0"/>
                        </a:rPr>
                        <a:t>CY Returns (As on 30th April’25)</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c hMerge="1">
                  <a:tcPr/>
                </a:tc>
                <a:tc hMerge="1">
                  <a:tcPr/>
                </a:tc>
              </a:tr>
              <a:tr h="194188">
                <a:tc>
                  <a:txBody>
                    <a:bodyPr/>
                    <a:lstStyle/>
                    <a:p>
                      <a:pPr algn="l" rtl="0" fontAlgn="ctr"/>
                      <a:endParaRPr lang="en-US"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dirty="0">
                          <a:solidFill>
                            <a:srgbClr val="000000"/>
                          </a:solidFill>
                          <a:effectLst/>
                          <a:latin typeface="Calibri" panose="020F0502020204030204" pitchFamily="34" charset="0"/>
                        </a:rPr>
                        <a:t>Fund</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dirty="0">
                          <a:solidFill>
                            <a:srgbClr val="000000"/>
                          </a:solidFill>
                          <a:effectLst/>
                          <a:latin typeface="Calibri" panose="020F0502020204030204" pitchFamily="34" charset="0"/>
                        </a:rPr>
                        <a:t>BSE 100 TRI </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dirty="0">
                          <a:solidFill>
                            <a:srgbClr val="000000"/>
                          </a:solidFill>
                          <a:effectLst/>
                          <a:latin typeface="Calibri" panose="020F0502020204030204" pitchFamily="34" charset="0"/>
                        </a:rPr>
                        <a:t>Alpha</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5 YTD</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1.7%</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4</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19.30%</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3.3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9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3 </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3.2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3.2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0.0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2</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2.3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6.0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6.2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1</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3.4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6.5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6.8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0</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8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6.8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0.9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19</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8.1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0.9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7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18</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8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6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7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17</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9.9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3.2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6.63%</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30" name="Table 29"/>
          <p:cNvGraphicFramePr>
            <a:graphicFrameLocks noGrp="1"/>
          </p:cNvGraphicFramePr>
          <p:nvPr/>
        </p:nvGraphicFramePr>
        <p:xfrm>
          <a:off x="3066142" y="2884020"/>
          <a:ext cx="2133600" cy="2038770"/>
        </p:xfrm>
        <a:graphic>
          <a:graphicData uri="http://schemas.openxmlformats.org/drawingml/2006/table">
            <a:tbl>
              <a:tblPr bandRow="1"/>
              <a:tblGrid>
                <a:gridCol w="1397000"/>
                <a:gridCol w="736600"/>
              </a:tblGrid>
              <a:tr h="226530">
                <a:tc>
                  <a:txBody>
                    <a:bodyPr/>
                    <a:lstStyle/>
                    <a:p>
                      <a:pPr algn="ctr" fontAlgn="ctr"/>
                      <a:r>
                        <a:rPr lang="en-US" sz="900" b="1" i="0" u="none" strike="noStrike" dirty="0">
                          <a:solidFill>
                            <a:srgbClr val="000000"/>
                          </a:solidFill>
                          <a:effectLst/>
                          <a:latin typeface="Calibri" panose="020F0502020204030204" pitchFamily="34" charset="0"/>
                        </a:rPr>
                        <a:t>Top Holding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a:txBody>
                    <a:bodyPr/>
                    <a:lstStyle/>
                    <a:p>
                      <a:pPr algn="ctr" fontAlgn="ctr"/>
                      <a:r>
                        <a:rPr lang="en-US" sz="900" b="1" i="0" u="none" strike="noStrike" dirty="0">
                          <a:solidFill>
                            <a:srgbClr val="000000"/>
                          </a:solidFill>
                          <a:effectLst/>
                          <a:latin typeface="Calibri" panose="020F0502020204030204" pitchFamily="34" charset="0"/>
                        </a:rPr>
                        <a:t>% Allocation</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r>
              <a:tr h="226530">
                <a:tc>
                  <a:txBody>
                    <a:bodyPr/>
                    <a:lstStyle/>
                    <a:p>
                      <a:pPr algn="ctr" rtl="0" fontAlgn="ctr"/>
                      <a:r>
                        <a:rPr lang="en-GB" sz="900" b="0" i="0" u="none" strike="noStrike" dirty="0">
                          <a:solidFill>
                            <a:srgbClr val="000000"/>
                          </a:solidFill>
                          <a:effectLst/>
                          <a:latin typeface="Calibri" panose="020F0502020204030204" pitchFamily="34" charset="0"/>
                        </a:rPr>
                        <a:t> HDFC Bank</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8.6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26530">
                <a:tc>
                  <a:txBody>
                    <a:bodyPr/>
                    <a:lstStyle/>
                    <a:p>
                      <a:pPr algn="ctr" rtl="0" fontAlgn="ctr"/>
                      <a:r>
                        <a:rPr lang="en-GB" sz="900" b="0" i="0" u="none" strike="noStrike" dirty="0">
                          <a:solidFill>
                            <a:srgbClr val="000000"/>
                          </a:solidFill>
                          <a:effectLst/>
                          <a:latin typeface="Calibri" panose="020F0502020204030204" pitchFamily="34" charset="0"/>
                        </a:rPr>
                        <a:t> Reliance Ind</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7.1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26530">
                <a:tc>
                  <a:txBody>
                    <a:bodyPr/>
                    <a:lstStyle/>
                    <a:p>
                      <a:pPr algn="ctr" rtl="0" fontAlgn="ctr"/>
                      <a:r>
                        <a:rPr lang="en-GB" sz="900" b="0" i="0" u="none" strike="noStrike" dirty="0">
                          <a:solidFill>
                            <a:srgbClr val="000000"/>
                          </a:solidFill>
                          <a:effectLst/>
                          <a:latin typeface="Calibri" panose="020F0502020204030204" pitchFamily="34" charset="0"/>
                        </a:rPr>
                        <a:t> ICICI Bank</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8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26530">
                <a:tc>
                  <a:txBody>
                    <a:bodyPr/>
                    <a:lstStyle/>
                    <a:p>
                      <a:pPr algn="ctr" rtl="0" fontAlgn="ctr"/>
                      <a:r>
                        <a:rPr lang="en-GB" sz="900" b="0" i="0" u="none" strike="noStrike" dirty="0">
                          <a:solidFill>
                            <a:srgbClr val="000000"/>
                          </a:solidFill>
                          <a:effectLst/>
                          <a:latin typeface="Calibri" panose="020F0502020204030204" pitchFamily="34" charset="0"/>
                        </a:rPr>
                        <a:t> Axis Bank</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7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26530">
                <a:tc>
                  <a:txBody>
                    <a:bodyPr/>
                    <a:lstStyle/>
                    <a:p>
                      <a:pPr algn="ctr" rtl="0" fontAlgn="ctr"/>
                      <a:r>
                        <a:rPr lang="en-GB" sz="900" b="0" i="0" u="none" strike="noStrike" dirty="0">
                          <a:solidFill>
                            <a:srgbClr val="000000"/>
                          </a:solidFill>
                          <a:effectLst/>
                          <a:latin typeface="Calibri" panose="020F0502020204030204" pitchFamily="34" charset="0"/>
                        </a:rPr>
                        <a:t> Larsen &amp; Toubro</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8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26530">
                <a:tc>
                  <a:txBody>
                    <a:bodyPr/>
                    <a:lstStyle/>
                    <a:p>
                      <a:pPr algn="ctr" rtl="0" fontAlgn="ctr"/>
                      <a:r>
                        <a:rPr lang="en-GB" sz="900" b="0" i="0" u="none" strike="noStrike" dirty="0">
                          <a:solidFill>
                            <a:srgbClr val="000000"/>
                          </a:solidFill>
                          <a:effectLst/>
                          <a:latin typeface="Calibri" panose="020F0502020204030204" pitchFamily="34" charset="0"/>
                        </a:rPr>
                        <a:t> HDFC Bank</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8.6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26530">
                <a:tc>
                  <a:txBody>
                    <a:bodyPr/>
                    <a:lstStyle/>
                    <a:p>
                      <a:pPr algn="ctr" rtl="0" fontAlgn="ctr"/>
                      <a:r>
                        <a:rPr lang="en-GB" sz="900" b="0" i="0" u="none" strike="noStrike" dirty="0">
                          <a:solidFill>
                            <a:srgbClr val="000000"/>
                          </a:solidFill>
                          <a:effectLst/>
                          <a:latin typeface="Calibri" panose="020F0502020204030204" pitchFamily="34" charset="0"/>
                        </a:rPr>
                        <a:t> Reliance Ind</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7.16</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26530">
                <a:tc>
                  <a:txBody>
                    <a:bodyPr/>
                    <a:lstStyle/>
                    <a:p>
                      <a:pPr algn="ctr" rtl="0" fontAlgn="ctr"/>
                      <a:r>
                        <a:rPr lang="en-GB" sz="900" b="0" i="0" u="none" strike="noStrike">
                          <a:solidFill>
                            <a:srgbClr val="000000"/>
                          </a:solidFill>
                          <a:effectLst/>
                          <a:latin typeface="Calibri" panose="020F0502020204030204" pitchFamily="34" charset="0"/>
                        </a:rPr>
                        <a:t> ICICI Ban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5.89</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8" name="Chart 7"/>
          <p:cNvGraphicFramePr/>
          <p:nvPr/>
        </p:nvGraphicFramePr>
        <p:xfrm>
          <a:off x="5364110" y="2884020"/>
          <a:ext cx="3723447" cy="2203494"/>
        </p:xfrm>
        <a:graphic>
          <a:graphicData uri="http://schemas.openxmlformats.org/drawingml/2006/chart">
            <c:chart xmlns:c="http://schemas.openxmlformats.org/drawingml/2006/chart" xmlns:r="http://schemas.openxmlformats.org/officeDocument/2006/relationships" r:id="rId1"/>
          </a:graphicData>
        </a:graphic>
      </p:graphicFrame>
    </p:spTree>
  </p:cSld>
  <p:clrMapOvr>
    <a:overrideClrMapping bg1="lt1" tx1="dk1" bg2="lt2" tx2="dk2" accent1="accent1" accent2="accent2" accent3="accent3" accent4="accent4" accent5="accent5" accent6="accent6" hlink="hlink" folHlink="folHlink"/>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0"/>
          <p:cNvSpPr txBox="1"/>
          <p:nvPr/>
        </p:nvSpPr>
        <p:spPr>
          <a:xfrm>
            <a:off x="268512" y="220710"/>
            <a:ext cx="6643663" cy="374713"/>
          </a:xfrm>
          <a:prstGeom prst="rect">
            <a:avLst/>
          </a:prstGeom>
        </p:spPr>
        <p:txBody>
          <a:bodyPr lIns="0" tIns="0" rIns="0" bIns="0"/>
          <a:lstStyle/>
          <a:p>
            <a:pPr>
              <a:lnSpc>
                <a:spcPts val="2700"/>
              </a:lnSpc>
              <a:defRPr/>
            </a:pPr>
            <a:r>
              <a:rPr lang="en-IN" sz="1400" b="1" dirty="0">
                <a:ln>
                  <a:solidFill>
                    <a:schemeClr val="accent2"/>
                  </a:solidFill>
                </a:ln>
                <a:solidFill>
                  <a:schemeClr val="tx1">
                    <a:lumMod val="85000"/>
                    <a:lumOff val="15000"/>
                  </a:schemeClr>
                </a:solidFill>
                <a:latin typeface="Calibri" panose="020F0502020204030204" pitchFamily="34" charset="0"/>
                <a:cs typeface="Calibri" panose="020F0502020204030204" pitchFamily="34" charset="0"/>
              </a:rPr>
              <a:t> </a:t>
            </a:r>
            <a:r>
              <a:rPr lang="en-IN" sz="1400" dirty="0">
                <a:ln>
                  <a:solidFill>
                    <a:sysClr val="windowText" lastClr="000000"/>
                  </a:solidFill>
                </a:ln>
                <a:solidFill>
                  <a:sysClr val="windowText" lastClr="000000"/>
                </a:solidFill>
                <a:latin typeface="Calibri" panose="020F0502020204030204" pitchFamily="34" charset="0"/>
                <a:cs typeface="Calibri" panose="020F0502020204030204" pitchFamily="34" charset="0"/>
              </a:rPr>
              <a:t>SBI Sensex ETF</a:t>
            </a:r>
            <a:endParaRPr lang="en-US" sz="1400" dirty="0">
              <a:solidFill>
                <a:schemeClr val="tx1">
                  <a:lumMod val="85000"/>
                  <a:lumOff val="15000"/>
                </a:schemeClr>
              </a:solidFill>
              <a:latin typeface="Calibri" panose="020F0502020204030204" pitchFamily="34" charset="0"/>
              <a:ea typeface="+mj-ea"/>
              <a:cs typeface="Calibri" panose="020F0502020204030204" pitchFamily="34" charset="0"/>
            </a:endParaRPr>
          </a:p>
        </p:txBody>
      </p:sp>
      <p:graphicFrame>
        <p:nvGraphicFramePr>
          <p:cNvPr id="3" name="Table 2"/>
          <p:cNvGraphicFramePr>
            <a:graphicFrameLocks noGrp="1"/>
          </p:cNvGraphicFramePr>
          <p:nvPr/>
        </p:nvGraphicFramePr>
        <p:xfrm>
          <a:off x="203199" y="837076"/>
          <a:ext cx="2298787" cy="1970627"/>
        </p:xfrm>
        <a:graphic>
          <a:graphicData uri="http://schemas.openxmlformats.org/drawingml/2006/table">
            <a:tbl>
              <a:tblPr/>
              <a:tblGrid>
                <a:gridCol w="1138237"/>
                <a:gridCol w="1160550"/>
              </a:tblGrid>
              <a:tr h="334475">
                <a:tc gridSpan="2">
                  <a:txBody>
                    <a:bodyPr/>
                    <a:lstStyle/>
                    <a:p>
                      <a:pPr algn="ctr" rtl="0" fontAlgn="ctr"/>
                      <a:r>
                        <a:rPr lang="en-US" sz="900" b="1" i="0" u="none" strike="noStrike" dirty="0">
                          <a:solidFill>
                            <a:srgbClr val="000000"/>
                          </a:solidFill>
                          <a:effectLst/>
                          <a:latin typeface="Calibri" panose="020F0502020204030204" pitchFamily="34" charset="0"/>
                        </a:rPr>
                        <a:t>Key Detail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72692">
                <a:tc>
                  <a:txBody>
                    <a:bodyPr/>
                    <a:lstStyle/>
                    <a:p>
                      <a:pPr algn="ctr" rtl="0" fontAlgn="ctr"/>
                      <a:r>
                        <a:rPr lang="en-GB" sz="900" b="0" i="0" u="none" strike="noStrike">
                          <a:solidFill>
                            <a:srgbClr val="000000"/>
                          </a:solidFill>
                          <a:effectLst/>
                          <a:latin typeface="Calibri" panose="020F0502020204030204" pitchFamily="34" charset="0"/>
                        </a:rPr>
                        <a:t>Inception</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Mar-1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a:solidFill>
                            <a:srgbClr val="000000"/>
                          </a:solidFill>
                          <a:effectLst/>
                          <a:latin typeface="Calibri" panose="020F0502020204030204" pitchFamily="34" charset="0"/>
                        </a:rPr>
                        <a:t>Categor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Large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a:solidFill>
                            <a:srgbClr val="000000"/>
                          </a:solidFill>
                          <a:effectLst/>
                          <a:latin typeface="Calibri" panose="020F0502020204030204" pitchFamily="34" charset="0"/>
                        </a:rPr>
                        <a:t>AUM (Rs Cror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16,41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a:solidFill>
                            <a:srgbClr val="000000"/>
                          </a:solidFill>
                          <a:effectLst/>
                          <a:latin typeface="Calibri" panose="020F0502020204030204" pitchFamily="34" charset="0"/>
                        </a:rPr>
                        <a:t>Benchmar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BSE Sensex TRI</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a:solidFill>
                            <a:srgbClr val="000000"/>
                          </a:solidFill>
                          <a:effectLst/>
                          <a:latin typeface="Calibri" panose="020F0502020204030204" pitchFamily="34" charset="0"/>
                        </a:rPr>
                        <a:t>Fund Manager</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Raviprakash Sharma</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dirty="0">
                          <a:solidFill>
                            <a:srgbClr val="000000"/>
                          </a:solidFill>
                          <a:effectLst/>
                          <a:latin typeface="Calibri" panose="020F0502020204030204" pitchFamily="34" charset="0"/>
                        </a:rPr>
                        <a:t>Expense Ratio</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0.04%</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5" name="Table 4"/>
          <p:cNvGraphicFramePr>
            <a:graphicFrameLocks noGrp="1"/>
          </p:cNvGraphicFramePr>
          <p:nvPr/>
        </p:nvGraphicFramePr>
        <p:xfrm>
          <a:off x="2595123" y="837074"/>
          <a:ext cx="1976877" cy="1979522"/>
        </p:xfrm>
        <a:graphic>
          <a:graphicData uri="http://schemas.openxmlformats.org/drawingml/2006/table">
            <a:tbl>
              <a:tblPr/>
              <a:tblGrid>
                <a:gridCol w="1364016"/>
                <a:gridCol w="612861"/>
              </a:tblGrid>
              <a:tr h="280489">
                <a:tc gridSpan="2">
                  <a:txBody>
                    <a:bodyPr/>
                    <a:lstStyle/>
                    <a:p>
                      <a:pPr algn="ctr" rtl="0" fontAlgn="ctr"/>
                      <a:r>
                        <a:rPr lang="en-US" sz="900" b="1" i="0" u="none" strike="noStrike" dirty="0">
                          <a:solidFill>
                            <a:srgbClr val="000000"/>
                          </a:solidFill>
                          <a:effectLst/>
                          <a:latin typeface="Calibri" panose="020F0502020204030204" pitchFamily="34" charset="0"/>
                        </a:rPr>
                        <a:t>Portfolio Aggregate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42719">
                <a:tc>
                  <a:txBody>
                    <a:bodyPr/>
                    <a:lstStyle/>
                    <a:p>
                      <a:pPr algn="ctr" rtl="0" fontAlgn="ctr"/>
                      <a:r>
                        <a:rPr lang="en-GB" sz="900" b="0" i="0" u="none" strike="noStrike">
                          <a:solidFill>
                            <a:srgbClr val="000000"/>
                          </a:solidFill>
                          <a:effectLst/>
                          <a:latin typeface="Calibri" panose="020F0502020204030204" pitchFamily="34" charset="0"/>
                        </a:rPr>
                        <a:t>No of Stock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Avg Mkt Cap (Rs Lac Cror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7.0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Investing Style </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GAR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Giant</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9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Large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Mid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Small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0%</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10" name="Table 9"/>
          <p:cNvGraphicFramePr>
            <a:graphicFrameLocks noGrp="1"/>
          </p:cNvGraphicFramePr>
          <p:nvPr/>
        </p:nvGraphicFramePr>
        <p:xfrm>
          <a:off x="4656762" y="837073"/>
          <a:ext cx="1968500" cy="1696734"/>
        </p:xfrm>
        <a:graphic>
          <a:graphicData uri="http://schemas.openxmlformats.org/drawingml/2006/table">
            <a:tbl>
              <a:tblPr/>
              <a:tblGrid>
                <a:gridCol w="850468"/>
                <a:gridCol w="1118032"/>
              </a:tblGrid>
              <a:tr h="282789">
                <a:tc gridSpan="2">
                  <a:txBody>
                    <a:bodyPr/>
                    <a:lstStyle/>
                    <a:p>
                      <a:pPr algn="ctr" rtl="0" fontAlgn="ctr"/>
                      <a:r>
                        <a:rPr lang="en-US" sz="900" b="1" i="0" u="none" strike="noStrike" dirty="0">
                          <a:solidFill>
                            <a:srgbClr val="000000"/>
                          </a:solidFill>
                          <a:effectLst/>
                          <a:latin typeface="Calibri" panose="020F0502020204030204" pitchFamily="34" charset="0"/>
                        </a:rPr>
                        <a:t>Portfolio Concentration &amp; Metric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82789">
                <a:tc>
                  <a:txBody>
                    <a:bodyPr/>
                    <a:lstStyle/>
                    <a:p>
                      <a:pPr algn="ctr" rtl="0" fontAlgn="ctr"/>
                      <a:r>
                        <a:rPr lang="en-GB" sz="900" b="0" i="0" u="none" strike="noStrike">
                          <a:solidFill>
                            <a:srgbClr val="000000"/>
                          </a:solidFill>
                          <a:effectLst/>
                          <a:latin typeface="Calibri" panose="020F0502020204030204" pitchFamily="34" charset="0"/>
                        </a:rPr>
                        <a:t>Top 10 Stock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67.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82789">
                <a:tc>
                  <a:txBody>
                    <a:bodyPr/>
                    <a:lstStyle/>
                    <a:p>
                      <a:pPr algn="ctr" rtl="0" fontAlgn="ctr"/>
                      <a:r>
                        <a:rPr lang="en-GB" sz="900" b="0" i="0" u="none" strike="noStrike">
                          <a:solidFill>
                            <a:srgbClr val="000000"/>
                          </a:solidFill>
                          <a:effectLst/>
                          <a:latin typeface="Calibri" panose="020F0502020204030204" pitchFamily="34" charset="0"/>
                        </a:rPr>
                        <a:t>Top 5 Stock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7.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82789">
                <a:tc>
                  <a:txBody>
                    <a:bodyPr/>
                    <a:lstStyle/>
                    <a:p>
                      <a:pPr algn="ctr" rtl="0" fontAlgn="ctr"/>
                      <a:r>
                        <a:rPr lang="en-GB" sz="900" b="0" i="0" u="none" strike="noStrike">
                          <a:solidFill>
                            <a:srgbClr val="000000"/>
                          </a:solidFill>
                          <a:effectLst/>
                          <a:latin typeface="Calibri" panose="020F0502020204030204" pitchFamily="34" charset="0"/>
                        </a:rPr>
                        <a:t>Top 3 Sector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66.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82789">
                <a:tc>
                  <a:txBody>
                    <a:bodyPr/>
                    <a:lstStyle/>
                    <a:p>
                      <a:pPr algn="ctr" rtl="0" fontAlgn="ctr"/>
                      <a:r>
                        <a:rPr lang="en-GB" sz="900" b="0" i="0" u="none" strike="noStrike">
                          <a:solidFill>
                            <a:srgbClr val="000000"/>
                          </a:solidFill>
                          <a:effectLst/>
                          <a:latin typeface="Calibri" panose="020F0502020204030204" pitchFamily="34" charset="0"/>
                        </a:rPr>
                        <a:t>P/E Ratio</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2.7x</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82789">
                <a:tc>
                  <a:txBody>
                    <a:bodyPr/>
                    <a:lstStyle/>
                    <a:p>
                      <a:pPr algn="ctr" rtl="0" fontAlgn="ctr"/>
                      <a:r>
                        <a:rPr lang="en-GB" sz="900" b="0" i="0" u="none" strike="noStrike">
                          <a:solidFill>
                            <a:srgbClr val="000000"/>
                          </a:solidFill>
                          <a:effectLst/>
                          <a:latin typeface="Calibri" panose="020F0502020204030204" pitchFamily="34" charset="0"/>
                        </a:rPr>
                        <a:t>P/B Ratio</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3.5x</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1" name="Table 20"/>
          <p:cNvGraphicFramePr>
            <a:graphicFrameLocks noGrp="1"/>
          </p:cNvGraphicFramePr>
          <p:nvPr/>
        </p:nvGraphicFramePr>
        <p:xfrm>
          <a:off x="6749286" y="837073"/>
          <a:ext cx="2215324" cy="1970631"/>
        </p:xfrm>
        <a:graphic>
          <a:graphicData uri="http://schemas.openxmlformats.org/drawingml/2006/table">
            <a:tbl>
              <a:tblPr/>
              <a:tblGrid>
                <a:gridCol w="1218429"/>
                <a:gridCol w="996895"/>
              </a:tblGrid>
              <a:tr h="294477">
                <a:tc gridSpan="2">
                  <a:txBody>
                    <a:bodyPr/>
                    <a:lstStyle/>
                    <a:p>
                      <a:pPr algn="ctr" rtl="0" fontAlgn="ctr"/>
                      <a:r>
                        <a:rPr lang="en-US" sz="900" b="1" i="0" u="none" strike="noStrike" dirty="0">
                          <a:solidFill>
                            <a:srgbClr val="000000"/>
                          </a:solidFill>
                          <a:effectLst/>
                          <a:latin typeface="Calibri" panose="020F0502020204030204" pitchFamily="34" charset="0"/>
                        </a:rPr>
                        <a:t>Top Sectors </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79359">
                <a:tc>
                  <a:txBody>
                    <a:bodyPr/>
                    <a:lstStyle/>
                    <a:p>
                      <a:pPr algn="ctr" rtl="0" fontAlgn="ctr"/>
                      <a:r>
                        <a:rPr lang="en-GB" sz="900" b="0" i="0" u="none" strike="noStrike">
                          <a:solidFill>
                            <a:srgbClr val="000000"/>
                          </a:solidFill>
                          <a:effectLst/>
                          <a:latin typeface="Calibri" panose="020F0502020204030204" pitchFamily="34" charset="0"/>
                        </a:rPr>
                        <a:t>Financial</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0.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Technolog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9.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Energy &amp; Utiliti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3.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Consumer Discretionar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7.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Consumer Stapl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7.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Industrial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5.7%</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3" name="Table 22"/>
          <p:cNvGraphicFramePr>
            <a:graphicFrameLocks noGrp="1"/>
          </p:cNvGraphicFramePr>
          <p:nvPr/>
        </p:nvGraphicFramePr>
        <p:xfrm>
          <a:off x="203198" y="2884021"/>
          <a:ext cx="2641600" cy="2162292"/>
        </p:xfrm>
        <a:graphic>
          <a:graphicData uri="http://schemas.openxmlformats.org/drawingml/2006/table">
            <a:tbl>
              <a:tblPr bandRow="1"/>
              <a:tblGrid>
                <a:gridCol w="660400"/>
                <a:gridCol w="660400"/>
                <a:gridCol w="660400"/>
                <a:gridCol w="660400"/>
              </a:tblGrid>
              <a:tr h="196572">
                <a:tc gridSpan="4">
                  <a:txBody>
                    <a:bodyPr/>
                    <a:lstStyle/>
                    <a:p>
                      <a:pPr algn="ctr" rtl="0" fontAlgn="ctr"/>
                      <a:r>
                        <a:rPr lang="en-US" sz="900" b="1" i="0" u="none" strike="noStrike" dirty="0">
                          <a:solidFill>
                            <a:srgbClr val="000000"/>
                          </a:solidFill>
                          <a:effectLst/>
                          <a:latin typeface="Calibri" panose="020F0502020204030204" pitchFamily="34" charset="0"/>
                        </a:rPr>
                        <a:t>CY Returns (As on 30th April’25)</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c hMerge="1">
                  <a:tcPr/>
                </a:tc>
                <a:tc hMerge="1">
                  <a:tcPr/>
                </a:tc>
              </a:tr>
              <a:tr h="196572">
                <a:tc>
                  <a:txBody>
                    <a:bodyPr/>
                    <a:lstStyle/>
                    <a:p>
                      <a:pPr algn="l" rtl="0" fontAlgn="ctr"/>
                      <a:endParaRPr lang="en-US"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dirty="0">
                          <a:solidFill>
                            <a:srgbClr val="000000"/>
                          </a:solidFill>
                          <a:effectLst/>
                          <a:latin typeface="Calibri" panose="020F0502020204030204" pitchFamily="34" charset="0"/>
                        </a:rPr>
                        <a:t>Fund</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dirty="0">
                          <a:solidFill>
                            <a:srgbClr val="000000"/>
                          </a:solidFill>
                          <a:effectLst/>
                          <a:latin typeface="Calibri" panose="020F0502020204030204" pitchFamily="34" charset="0"/>
                        </a:rPr>
                        <a:t>Sensex TRI</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a:solidFill>
                            <a:srgbClr val="000000"/>
                          </a:solidFill>
                          <a:effectLst/>
                          <a:latin typeface="Calibri" panose="020F0502020204030204" pitchFamily="34" charset="0"/>
                        </a:rPr>
                        <a:t>Alpha</a:t>
                      </a:r>
                      <a:endParaRPr lang="en-US" sz="900" b="1"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6572">
                <a:tc>
                  <a:txBody>
                    <a:bodyPr/>
                    <a:lstStyle/>
                    <a:p>
                      <a:pPr algn="ctr" rtl="0" fontAlgn="ctr"/>
                      <a:r>
                        <a:rPr lang="en-US" sz="900" b="1" i="0" u="none" strike="noStrike" dirty="0">
                          <a:solidFill>
                            <a:srgbClr val="000000"/>
                          </a:solidFill>
                          <a:effectLst/>
                          <a:latin typeface="Calibri" panose="020F0502020204030204" pitchFamily="34" charset="0"/>
                        </a:rPr>
                        <a:t>2025 YTD</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0.0%</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6572">
                <a:tc>
                  <a:txBody>
                    <a:bodyPr/>
                    <a:lstStyle/>
                    <a:p>
                      <a:pPr algn="ctr" rtl="0" fontAlgn="ctr"/>
                      <a:r>
                        <a:rPr lang="en-US" sz="900" b="1" i="0" u="none" strike="noStrike" dirty="0">
                          <a:solidFill>
                            <a:srgbClr val="000000"/>
                          </a:solidFill>
                          <a:effectLst/>
                          <a:latin typeface="Calibri" panose="020F0502020204030204" pitchFamily="34" charset="0"/>
                        </a:rPr>
                        <a:t>2024</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9.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9.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6572">
                <a:tc>
                  <a:txBody>
                    <a:bodyPr/>
                    <a:lstStyle/>
                    <a:p>
                      <a:pPr algn="ctr" rtl="0" fontAlgn="ctr"/>
                      <a:r>
                        <a:rPr lang="en-US" sz="900" b="1" i="0" u="none" strike="noStrike" dirty="0">
                          <a:solidFill>
                            <a:srgbClr val="000000"/>
                          </a:solidFill>
                          <a:effectLst/>
                          <a:latin typeface="Calibri" panose="020F0502020204030204" pitchFamily="34" charset="0"/>
                        </a:rPr>
                        <a:t>2023</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0.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0.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6572">
                <a:tc>
                  <a:txBody>
                    <a:bodyPr/>
                    <a:lstStyle/>
                    <a:p>
                      <a:pPr algn="ctr" rtl="0" fontAlgn="ctr"/>
                      <a:r>
                        <a:rPr lang="en-US" sz="900" b="1" i="0" u="none" strike="noStrike" dirty="0">
                          <a:solidFill>
                            <a:srgbClr val="000000"/>
                          </a:solidFill>
                          <a:effectLst/>
                          <a:latin typeface="Calibri" panose="020F0502020204030204" pitchFamily="34" charset="0"/>
                        </a:rPr>
                        <a:t>2022 </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6572">
                <a:tc>
                  <a:txBody>
                    <a:bodyPr/>
                    <a:lstStyle/>
                    <a:p>
                      <a:pPr algn="ctr" rtl="0" fontAlgn="ctr"/>
                      <a:r>
                        <a:rPr lang="en-US" sz="900" b="1" i="0" u="none" strike="noStrike" dirty="0">
                          <a:solidFill>
                            <a:srgbClr val="000000"/>
                          </a:solidFill>
                          <a:effectLst/>
                          <a:latin typeface="Calibri" panose="020F0502020204030204" pitchFamily="34" charset="0"/>
                        </a:rPr>
                        <a:t>2021</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3.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3.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6572">
                <a:tc>
                  <a:txBody>
                    <a:bodyPr/>
                    <a:lstStyle/>
                    <a:p>
                      <a:pPr algn="ctr" rtl="0" fontAlgn="ctr"/>
                      <a:r>
                        <a:rPr lang="en-US" sz="900" b="1" i="0" u="none" strike="noStrike" dirty="0">
                          <a:solidFill>
                            <a:srgbClr val="000000"/>
                          </a:solidFill>
                          <a:effectLst/>
                          <a:latin typeface="Calibri" panose="020F0502020204030204" pitchFamily="34" charset="0"/>
                        </a:rPr>
                        <a:t>2020</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7.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7.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6572">
                <a:tc>
                  <a:txBody>
                    <a:bodyPr/>
                    <a:lstStyle/>
                    <a:p>
                      <a:pPr algn="ctr" rtl="0" fontAlgn="ctr"/>
                      <a:r>
                        <a:rPr lang="en-US" sz="900" b="1" i="0" u="none" strike="noStrike" dirty="0">
                          <a:solidFill>
                            <a:srgbClr val="000000"/>
                          </a:solidFill>
                          <a:effectLst/>
                          <a:latin typeface="Calibri" panose="020F0502020204030204" pitchFamily="34" charset="0"/>
                        </a:rPr>
                        <a:t>2019</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5.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5.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6572">
                <a:tc>
                  <a:txBody>
                    <a:bodyPr/>
                    <a:lstStyle/>
                    <a:p>
                      <a:pPr algn="ctr" rtl="0" fontAlgn="ctr"/>
                      <a:r>
                        <a:rPr lang="en-US" sz="900" b="1" i="0" u="none" strike="noStrike" dirty="0">
                          <a:solidFill>
                            <a:srgbClr val="000000"/>
                          </a:solidFill>
                          <a:effectLst/>
                          <a:latin typeface="Calibri" panose="020F0502020204030204" pitchFamily="34" charset="0"/>
                        </a:rPr>
                        <a:t>2018</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7.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7.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6572">
                <a:tc>
                  <a:txBody>
                    <a:bodyPr/>
                    <a:lstStyle/>
                    <a:p>
                      <a:pPr algn="ctr" rtl="0" fontAlgn="ctr"/>
                      <a:r>
                        <a:rPr lang="en-US" sz="900" b="1" i="0" u="none" strike="noStrike" dirty="0">
                          <a:solidFill>
                            <a:srgbClr val="000000"/>
                          </a:solidFill>
                          <a:effectLst/>
                          <a:latin typeface="Calibri" panose="020F0502020204030204" pitchFamily="34" charset="0"/>
                        </a:rPr>
                        <a:t>2017</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29.5%</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9.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0.1%</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30" name="Table 29"/>
          <p:cNvGraphicFramePr>
            <a:graphicFrameLocks noGrp="1"/>
          </p:cNvGraphicFramePr>
          <p:nvPr/>
        </p:nvGraphicFramePr>
        <p:xfrm>
          <a:off x="3066142" y="2884020"/>
          <a:ext cx="2133600" cy="2136069"/>
        </p:xfrm>
        <a:graphic>
          <a:graphicData uri="http://schemas.openxmlformats.org/drawingml/2006/table">
            <a:tbl>
              <a:tblPr bandRow="1"/>
              <a:tblGrid>
                <a:gridCol w="1397000"/>
                <a:gridCol w="736600"/>
              </a:tblGrid>
              <a:tr h="237341">
                <a:tc>
                  <a:txBody>
                    <a:bodyPr/>
                    <a:lstStyle/>
                    <a:p>
                      <a:pPr algn="ctr" fontAlgn="ctr"/>
                      <a:r>
                        <a:rPr lang="en-US" sz="900" b="1" i="0" u="none" strike="noStrike" dirty="0">
                          <a:solidFill>
                            <a:srgbClr val="000000"/>
                          </a:solidFill>
                          <a:effectLst/>
                          <a:latin typeface="Calibri" panose="020F0502020204030204" pitchFamily="34" charset="0"/>
                        </a:rPr>
                        <a:t>Top Holding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a:txBody>
                    <a:bodyPr/>
                    <a:lstStyle/>
                    <a:p>
                      <a:pPr algn="ctr" fontAlgn="ctr"/>
                      <a:r>
                        <a:rPr lang="en-US" sz="900" b="1" i="0" u="none" strike="noStrike" dirty="0">
                          <a:solidFill>
                            <a:srgbClr val="000000"/>
                          </a:solidFill>
                          <a:effectLst/>
                          <a:latin typeface="Calibri" panose="020F0502020204030204" pitchFamily="34" charset="0"/>
                        </a:rPr>
                        <a:t>% Allocation</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r>
              <a:tr h="237341">
                <a:tc>
                  <a:txBody>
                    <a:bodyPr/>
                    <a:lstStyle/>
                    <a:p>
                      <a:pPr algn="ctr" rtl="0" fontAlgn="ctr"/>
                      <a:r>
                        <a:rPr lang="en-GB" sz="900" b="0" i="0" u="none" strike="noStrike">
                          <a:solidFill>
                            <a:srgbClr val="000000"/>
                          </a:solidFill>
                          <a:effectLst/>
                          <a:latin typeface="Calibri" panose="020F0502020204030204" pitchFamily="34" charset="0"/>
                        </a:rPr>
                        <a:t> HDFC Ban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5.5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r>
                        <a:rPr lang="en-GB" sz="900" b="0" i="0" u="none" strike="noStrike">
                          <a:solidFill>
                            <a:srgbClr val="000000"/>
                          </a:solidFill>
                          <a:effectLst/>
                          <a:latin typeface="Calibri" panose="020F0502020204030204" pitchFamily="34" charset="0"/>
                        </a:rPr>
                        <a:t> ICICI Ban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0.8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r>
                        <a:rPr lang="en-GB" sz="900" b="0" i="0" u="none" strike="noStrike">
                          <a:solidFill>
                            <a:srgbClr val="000000"/>
                          </a:solidFill>
                          <a:effectLst/>
                          <a:latin typeface="Calibri" panose="020F0502020204030204" pitchFamily="34" charset="0"/>
                        </a:rPr>
                        <a:t> Reliance Ind</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0.1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r>
                        <a:rPr lang="en-GB" sz="900" b="0" i="0" u="none" strike="noStrike">
                          <a:solidFill>
                            <a:srgbClr val="000000"/>
                          </a:solidFill>
                          <a:effectLst/>
                          <a:latin typeface="Calibri" panose="020F0502020204030204" pitchFamily="34" charset="0"/>
                        </a:rPr>
                        <a:t> Infosy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r>
                        <a:rPr lang="en-GB" sz="900" b="0" i="0" u="none" strike="noStrike">
                          <a:solidFill>
                            <a:srgbClr val="000000"/>
                          </a:solidFill>
                          <a:effectLst/>
                          <a:latin typeface="Calibri" panose="020F0502020204030204" pitchFamily="34" charset="0"/>
                        </a:rPr>
                        <a:t> Bharti Airtel</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2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r>
                        <a:rPr lang="en-GB" sz="900" b="0" i="0" u="none" strike="noStrike">
                          <a:solidFill>
                            <a:srgbClr val="000000"/>
                          </a:solidFill>
                          <a:effectLst/>
                          <a:latin typeface="Calibri" panose="020F0502020204030204" pitchFamily="34" charset="0"/>
                        </a:rPr>
                        <a:t> Larsen &amp; Toubro</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5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r>
                        <a:rPr lang="en-GB" sz="900" b="0" i="0" u="none" strike="noStrike">
                          <a:solidFill>
                            <a:srgbClr val="000000"/>
                          </a:solidFill>
                          <a:effectLst/>
                          <a:latin typeface="Calibri" panose="020F0502020204030204" pitchFamily="34" charset="0"/>
                        </a:rPr>
                        <a:t> ITC</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0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37341">
                <a:tc>
                  <a:txBody>
                    <a:bodyPr/>
                    <a:lstStyle/>
                    <a:p>
                      <a:pPr algn="ctr" rtl="0" fontAlgn="ctr"/>
                      <a:r>
                        <a:rPr lang="en-GB" sz="900" b="0" i="0" u="none" strike="noStrike">
                          <a:solidFill>
                            <a:srgbClr val="000000"/>
                          </a:solidFill>
                          <a:effectLst/>
                          <a:latin typeface="Calibri" panose="020F0502020204030204" pitchFamily="34" charset="0"/>
                        </a:rPr>
                        <a:t> Tata Consultanc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3.71</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 name="Chart 1"/>
          <p:cNvGraphicFramePr/>
          <p:nvPr/>
        </p:nvGraphicFramePr>
        <p:xfrm>
          <a:off x="5364110" y="2884020"/>
          <a:ext cx="3723447" cy="2203494"/>
        </p:xfrm>
        <a:graphic>
          <a:graphicData uri="http://schemas.openxmlformats.org/drawingml/2006/chart">
            <c:chart xmlns:c="http://schemas.openxmlformats.org/drawingml/2006/chart" xmlns:r="http://schemas.openxmlformats.org/officeDocument/2006/relationships" r:id="rId1"/>
          </a:graphicData>
        </a:graphic>
      </p:graphicFrame>
    </p:spTree>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0"/>
          <p:cNvSpPr txBox="1"/>
          <p:nvPr/>
        </p:nvSpPr>
        <p:spPr>
          <a:xfrm>
            <a:off x="268512" y="220710"/>
            <a:ext cx="6643663" cy="374713"/>
          </a:xfrm>
          <a:prstGeom prst="rect">
            <a:avLst/>
          </a:prstGeom>
        </p:spPr>
        <p:txBody>
          <a:bodyPr lIns="0" tIns="0" rIns="0" bIns="0"/>
          <a:lstStyle/>
          <a:p>
            <a:pPr>
              <a:lnSpc>
                <a:spcPts val="2700"/>
              </a:lnSpc>
              <a:defRPr/>
            </a:pPr>
            <a:r>
              <a:rPr lang="en-IN" sz="1400" b="1" dirty="0">
                <a:ln>
                  <a:solidFill>
                    <a:schemeClr val="accent2"/>
                  </a:solidFill>
                </a:ln>
                <a:solidFill>
                  <a:schemeClr val="tx1">
                    <a:lumMod val="85000"/>
                    <a:lumOff val="15000"/>
                  </a:schemeClr>
                </a:solidFill>
                <a:latin typeface="Calibri" panose="020F0502020204030204" pitchFamily="34" charset="0"/>
                <a:cs typeface="Calibri" panose="020F0502020204030204" pitchFamily="34" charset="0"/>
              </a:rPr>
              <a:t> </a:t>
            </a:r>
            <a:r>
              <a:rPr lang="en-IN" sz="1400" dirty="0">
                <a:ln>
                  <a:solidFill>
                    <a:sysClr val="windowText" lastClr="000000"/>
                  </a:solidFill>
                </a:ln>
                <a:solidFill>
                  <a:sysClr val="windowText" lastClr="000000"/>
                </a:solidFill>
                <a:latin typeface="Calibri" panose="020F0502020204030204" pitchFamily="34" charset="0"/>
                <a:cs typeface="Calibri" panose="020F0502020204030204" pitchFamily="34" charset="0"/>
              </a:rPr>
              <a:t>Nippon India Nifty </a:t>
            </a:r>
            <a:r>
              <a:rPr lang="en-IN" sz="1400" dirty="0" err="1">
                <a:ln>
                  <a:solidFill>
                    <a:sysClr val="windowText" lastClr="000000"/>
                  </a:solidFill>
                </a:ln>
                <a:solidFill>
                  <a:sysClr val="windowText" lastClr="000000"/>
                </a:solidFill>
                <a:latin typeface="Calibri" panose="020F0502020204030204" pitchFamily="34" charset="0"/>
                <a:cs typeface="Calibri" panose="020F0502020204030204" pitchFamily="34" charset="0"/>
              </a:rPr>
              <a:t>BeES</a:t>
            </a:r>
            <a:r>
              <a:rPr lang="en-IN" sz="1400" dirty="0">
                <a:ln>
                  <a:solidFill>
                    <a:sysClr val="windowText" lastClr="000000"/>
                  </a:solidFill>
                </a:ln>
                <a:solidFill>
                  <a:sysClr val="windowText" lastClr="000000"/>
                </a:solidFill>
                <a:latin typeface="Calibri" panose="020F0502020204030204" pitchFamily="34" charset="0"/>
                <a:cs typeface="Calibri" panose="020F0502020204030204" pitchFamily="34" charset="0"/>
              </a:rPr>
              <a:t> ETF</a:t>
            </a:r>
            <a:endParaRPr lang="en-US" sz="1400" dirty="0">
              <a:solidFill>
                <a:schemeClr val="tx1">
                  <a:lumMod val="85000"/>
                  <a:lumOff val="15000"/>
                </a:schemeClr>
              </a:solidFill>
              <a:latin typeface="Calibri" panose="020F0502020204030204" pitchFamily="34" charset="0"/>
              <a:ea typeface="+mj-ea"/>
              <a:cs typeface="Calibri" panose="020F0502020204030204" pitchFamily="34" charset="0"/>
            </a:endParaRPr>
          </a:p>
        </p:txBody>
      </p:sp>
      <p:graphicFrame>
        <p:nvGraphicFramePr>
          <p:cNvPr id="3" name="Table 2"/>
          <p:cNvGraphicFramePr>
            <a:graphicFrameLocks noGrp="1"/>
          </p:cNvGraphicFramePr>
          <p:nvPr/>
        </p:nvGraphicFramePr>
        <p:xfrm>
          <a:off x="203199" y="837076"/>
          <a:ext cx="2298787" cy="1970627"/>
        </p:xfrm>
        <a:graphic>
          <a:graphicData uri="http://schemas.openxmlformats.org/drawingml/2006/table">
            <a:tbl>
              <a:tblPr/>
              <a:tblGrid>
                <a:gridCol w="1138237"/>
                <a:gridCol w="1160550"/>
              </a:tblGrid>
              <a:tr h="334475">
                <a:tc gridSpan="2">
                  <a:txBody>
                    <a:bodyPr/>
                    <a:lstStyle/>
                    <a:p>
                      <a:pPr algn="ctr" rtl="0" fontAlgn="ctr"/>
                      <a:r>
                        <a:rPr lang="en-US" sz="900" b="1" i="0" u="none" strike="noStrike" dirty="0">
                          <a:solidFill>
                            <a:srgbClr val="000000"/>
                          </a:solidFill>
                          <a:effectLst/>
                          <a:latin typeface="Calibri" panose="020F0502020204030204" pitchFamily="34" charset="0"/>
                        </a:rPr>
                        <a:t>Key Detail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72692">
                <a:tc>
                  <a:txBody>
                    <a:bodyPr/>
                    <a:lstStyle/>
                    <a:p>
                      <a:pPr algn="ctr" rtl="0" fontAlgn="ctr"/>
                      <a:r>
                        <a:rPr lang="en-GB" sz="900" b="0" i="0" u="none" strike="noStrike">
                          <a:solidFill>
                            <a:srgbClr val="000000"/>
                          </a:solidFill>
                          <a:effectLst/>
                          <a:latin typeface="Calibri" panose="020F0502020204030204" pitchFamily="34" charset="0"/>
                        </a:rPr>
                        <a:t>Inception</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Dec-0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a:solidFill>
                            <a:srgbClr val="000000"/>
                          </a:solidFill>
                          <a:effectLst/>
                          <a:latin typeface="Calibri" panose="020F0502020204030204" pitchFamily="34" charset="0"/>
                        </a:rPr>
                        <a:t>Categor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Large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a:solidFill>
                            <a:srgbClr val="000000"/>
                          </a:solidFill>
                          <a:effectLst/>
                          <a:latin typeface="Calibri" panose="020F0502020204030204" pitchFamily="34" charset="0"/>
                        </a:rPr>
                        <a:t>AUM (Rs Cror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8,61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a:solidFill>
                            <a:srgbClr val="000000"/>
                          </a:solidFill>
                          <a:effectLst/>
                          <a:latin typeface="Calibri" panose="020F0502020204030204" pitchFamily="34" charset="0"/>
                        </a:rPr>
                        <a:t>Benchmar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Nifty 50 TRI</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a:solidFill>
                            <a:srgbClr val="000000"/>
                          </a:solidFill>
                          <a:effectLst/>
                          <a:latin typeface="Calibri" panose="020F0502020204030204" pitchFamily="34" charset="0"/>
                        </a:rPr>
                        <a:t>Fund Manager</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Himanshu Mange</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2692">
                <a:tc>
                  <a:txBody>
                    <a:bodyPr/>
                    <a:lstStyle/>
                    <a:p>
                      <a:pPr algn="ctr" rtl="0" fontAlgn="ctr"/>
                      <a:r>
                        <a:rPr lang="en-GB" sz="900" b="0" i="0" u="none" strike="noStrike" dirty="0">
                          <a:solidFill>
                            <a:srgbClr val="000000"/>
                          </a:solidFill>
                          <a:effectLst/>
                          <a:latin typeface="Calibri" panose="020F0502020204030204" pitchFamily="34" charset="0"/>
                        </a:rPr>
                        <a:t>Expense Ratio</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0.04%</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5" name="Table 4"/>
          <p:cNvGraphicFramePr>
            <a:graphicFrameLocks noGrp="1"/>
          </p:cNvGraphicFramePr>
          <p:nvPr/>
        </p:nvGraphicFramePr>
        <p:xfrm>
          <a:off x="2575145" y="841346"/>
          <a:ext cx="2030396" cy="1979522"/>
        </p:xfrm>
        <a:graphic>
          <a:graphicData uri="http://schemas.openxmlformats.org/drawingml/2006/table">
            <a:tbl>
              <a:tblPr/>
              <a:tblGrid>
                <a:gridCol w="1304042"/>
                <a:gridCol w="726354"/>
              </a:tblGrid>
              <a:tr h="280489">
                <a:tc gridSpan="2">
                  <a:txBody>
                    <a:bodyPr/>
                    <a:lstStyle/>
                    <a:p>
                      <a:pPr algn="ctr" rtl="0" fontAlgn="ctr"/>
                      <a:r>
                        <a:rPr lang="en-US" sz="900" b="1" i="0" u="none" strike="noStrike" dirty="0">
                          <a:solidFill>
                            <a:srgbClr val="000000"/>
                          </a:solidFill>
                          <a:effectLst/>
                          <a:latin typeface="Calibri" panose="020F0502020204030204" pitchFamily="34" charset="0"/>
                        </a:rPr>
                        <a:t>Portfolio Aggregate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42719">
                <a:tc>
                  <a:txBody>
                    <a:bodyPr/>
                    <a:lstStyle/>
                    <a:p>
                      <a:pPr algn="ctr" rtl="0" fontAlgn="ctr"/>
                      <a:r>
                        <a:rPr lang="en-GB" sz="900" b="0" i="0" u="none" strike="noStrike">
                          <a:solidFill>
                            <a:srgbClr val="000000"/>
                          </a:solidFill>
                          <a:effectLst/>
                          <a:latin typeface="Calibri" panose="020F0502020204030204" pitchFamily="34" charset="0"/>
                        </a:rPr>
                        <a:t>No of Stock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Avg Mkt Cap (Rs Lac Cror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7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Investing Style </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Index</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Giant</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9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Large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Mid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42719">
                <a:tc>
                  <a:txBody>
                    <a:bodyPr/>
                    <a:lstStyle/>
                    <a:p>
                      <a:pPr algn="ctr" rtl="0" fontAlgn="ctr"/>
                      <a:r>
                        <a:rPr lang="en-GB" sz="900" b="0" i="0" u="none" strike="noStrike">
                          <a:solidFill>
                            <a:srgbClr val="000000"/>
                          </a:solidFill>
                          <a:effectLst/>
                          <a:latin typeface="Calibri" panose="020F0502020204030204" pitchFamily="34" charset="0"/>
                        </a:rPr>
                        <a:t>Small Cap</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10" name="Table 9"/>
          <p:cNvGraphicFramePr>
            <a:graphicFrameLocks noGrp="1"/>
          </p:cNvGraphicFramePr>
          <p:nvPr/>
        </p:nvGraphicFramePr>
        <p:xfrm>
          <a:off x="4656762" y="830721"/>
          <a:ext cx="1968500" cy="1970628"/>
        </p:xfrm>
        <a:graphic>
          <a:graphicData uri="http://schemas.openxmlformats.org/drawingml/2006/table">
            <a:tbl>
              <a:tblPr/>
              <a:tblGrid>
                <a:gridCol w="850468"/>
                <a:gridCol w="1118032"/>
              </a:tblGrid>
              <a:tr h="328438">
                <a:tc gridSpan="2">
                  <a:txBody>
                    <a:bodyPr/>
                    <a:lstStyle/>
                    <a:p>
                      <a:pPr algn="ctr" rtl="0" fontAlgn="ctr"/>
                      <a:r>
                        <a:rPr lang="en-US" sz="900" b="1" i="0" u="none" strike="noStrike" dirty="0">
                          <a:solidFill>
                            <a:srgbClr val="000000"/>
                          </a:solidFill>
                          <a:effectLst/>
                          <a:latin typeface="Calibri" panose="020F0502020204030204" pitchFamily="34" charset="0"/>
                        </a:rPr>
                        <a:t>Portfolio Concentration &amp; Metric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328438">
                <a:tc>
                  <a:txBody>
                    <a:bodyPr/>
                    <a:lstStyle/>
                    <a:p>
                      <a:pPr algn="ctr" rtl="0" fontAlgn="ctr"/>
                      <a:r>
                        <a:rPr lang="en-GB" sz="900" b="0" i="0" u="none" strike="noStrike">
                          <a:solidFill>
                            <a:srgbClr val="000000"/>
                          </a:solidFill>
                          <a:effectLst/>
                          <a:latin typeface="Calibri" panose="020F0502020204030204" pitchFamily="34" charset="0"/>
                        </a:rPr>
                        <a:t>Top 10 Stock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6.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8438">
                <a:tc>
                  <a:txBody>
                    <a:bodyPr/>
                    <a:lstStyle/>
                    <a:p>
                      <a:pPr algn="ctr" rtl="0" fontAlgn="ctr"/>
                      <a:r>
                        <a:rPr lang="en-GB" sz="900" b="0" i="0" u="none" strike="noStrike">
                          <a:solidFill>
                            <a:srgbClr val="000000"/>
                          </a:solidFill>
                          <a:effectLst/>
                          <a:latin typeface="Calibri" panose="020F0502020204030204" pitchFamily="34" charset="0"/>
                        </a:rPr>
                        <a:t>Top 5 Stock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0.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8438">
                <a:tc>
                  <a:txBody>
                    <a:bodyPr/>
                    <a:lstStyle/>
                    <a:p>
                      <a:pPr algn="ctr" rtl="0" fontAlgn="ctr"/>
                      <a:r>
                        <a:rPr lang="en-GB" sz="900" b="0" i="0" u="none" strike="noStrike">
                          <a:solidFill>
                            <a:srgbClr val="000000"/>
                          </a:solidFill>
                          <a:effectLst/>
                          <a:latin typeface="Calibri" panose="020F0502020204030204" pitchFamily="34" charset="0"/>
                        </a:rPr>
                        <a:t>Top 3 Sector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9.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8438">
                <a:tc>
                  <a:txBody>
                    <a:bodyPr/>
                    <a:lstStyle/>
                    <a:p>
                      <a:pPr algn="ctr" rtl="0" fontAlgn="ctr"/>
                      <a:r>
                        <a:rPr lang="en-GB" sz="900" b="0" i="0" u="none" strike="noStrike">
                          <a:solidFill>
                            <a:srgbClr val="000000"/>
                          </a:solidFill>
                          <a:effectLst/>
                          <a:latin typeface="Calibri" panose="020F0502020204030204" pitchFamily="34" charset="0"/>
                        </a:rPr>
                        <a:t>P/E Ratio</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2.9x</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328438">
                <a:tc>
                  <a:txBody>
                    <a:bodyPr/>
                    <a:lstStyle/>
                    <a:p>
                      <a:pPr algn="ctr" rtl="0" fontAlgn="ctr"/>
                      <a:r>
                        <a:rPr lang="en-GB" sz="900" b="0" i="0" u="none" strike="noStrike">
                          <a:solidFill>
                            <a:srgbClr val="000000"/>
                          </a:solidFill>
                          <a:effectLst/>
                          <a:latin typeface="Calibri" panose="020F0502020204030204" pitchFamily="34" charset="0"/>
                        </a:rPr>
                        <a:t>P/B Ratio</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3.4x</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1" name="Table 20"/>
          <p:cNvGraphicFramePr>
            <a:graphicFrameLocks noGrp="1"/>
          </p:cNvGraphicFramePr>
          <p:nvPr/>
        </p:nvGraphicFramePr>
        <p:xfrm>
          <a:off x="6749286" y="837073"/>
          <a:ext cx="2191515" cy="1970631"/>
        </p:xfrm>
        <a:graphic>
          <a:graphicData uri="http://schemas.openxmlformats.org/drawingml/2006/table">
            <a:tbl>
              <a:tblPr/>
              <a:tblGrid>
                <a:gridCol w="1205334"/>
                <a:gridCol w="986181"/>
              </a:tblGrid>
              <a:tr h="294477">
                <a:tc gridSpan="2">
                  <a:txBody>
                    <a:bodyPr/>
                    <a:lstStyle/>
                    <a:p>
                      <a:pPr algn="ctr" rtl="0" fontAlgn="ctr"/>
                      <a:r>
                        <a:rPr lang="en-US" sz="900" b="1" i="0" u="none" strike="noStrike" dirty="0">
                          <a:solidFill>
                            <a:srgbClr val="000000"/>
                          </a:solidFill>
                          <a:effectLst/>
                          <a:latin typeface="Calibri" panose="020F0502020204030204" pitchFamily="34" charset="0"/>
                        </a:rPr>
                        <a:t>Top Sectors </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r>
              <a:tr h="279359">
                <a:tc>
                  <a:txBody>
                    <a:bodyPr/>
                    <a:lstStyle/>
                    <a:p>
                      <a:pPr algn="ctr" rtl="0" fontAlgn="ctr"/>
                      <a:r>
                        <a:rPr lang="en-GB" sz="900" b="0" i="0" u="none" strike="noStrike">
                          <a:solidFill>
                            <a:srgbClr val="000000"/>
                          </a:solidFill>
                          <a:effectLst/>
                          <a:latin typeface="Calibri" panose="020F0502020204030204" pitchFamily="34" charset="0"/>
                        </a:rPr>
                        <a:t>Financial</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7.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Technolog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7.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Energy &amp; Utiliti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2.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Consumer Discretionar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9.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Material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7.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79359">
                <a:tc>
                  <a:txBody>
                    <a:bodyPr/>
                    <a:lstStyle/>
                    <a:p>
                      <a:pPr algn="ctr" rtl="0" fontAlgn="ctr"/>
                      <a:r>
                        <a:rPr lang="en-GB" sz="900" b="0" i="0" u="none" strike="noStrike">
                          <a:solidFill>
                            <a:srgbClr val="000000"/>
                          </a:solidFill>
                          <a:effectLst/>
                          <a:latin typeface="Calibri" panose="020F0502020204030204" pitchFamily="34" charset="0"/>
                        </a:rPr>
                        <a:t>Consumer Staple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6.7%</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3" name="Table 22"/>
          <p:cNvGraphicFramePr>
            <a:graphicFrameLocks noGrp="1"/>
          </p:cNvGraphicFramePr>
          <p:nvPr/>
        </p:nvGraphicFramePr>
        <p:xfrm>
          <a:off x="203198" y="2884021"/>
          <a:ext cx="2641600" cy="2136068"/>
        </p:xfrm>
        <a:graphic>
          <a:graphicData uri="http://schemas.openxmlformats.org/drawingml/2006/table">
            <a:tbl>
              <a:tblPr bandRow="1"/>
              <a:tblGrid>
                <a:gridCol w="660400"/>
                <a:gridCol w="660400"/>
                <a:gridCol w="660400"/>
                <a:gridCol w="660400"/>
              </a:tblGrid>
              <a:tr h="194188">
                <a:tc gridSpan="4">
                  <a:txBody>
                    <a:bodyPr/>
                    <a:lstStyle/>
                    <a:p>
                      <a:pPr algn="ctr" rtl="0" fontAlgn="ctr"/>
                      <a:r>
                        <a:rPr lang="en-US" sz="900" b="1" i="0" u="none" strike="noStrike" dirty="0">
                          <a:solidFill>
                            <a:srgbClr val="000000"/>
                          </a:solidFill>
                          <a:effectLst/>
                          <a:latin typeface="Calibri" panose="020F0502020204030204" pitchFamily="34" charset="0"/>
                        </a:rPr>
                        <a:t>CY Returns (As on 30th April’25)</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hMerge="1">
                  <a:tcPr/>
                </a:tc>
                <a:tc hMerge="1">
                  <a:tcPr/>
                </a:tc>
                <a:tc hMerge="1">
                  <a:tcPr/>
                </a:tc>
              </a:tr>
              <a:tr h="194188">
                <a:tc>
                  <a:txBody>
                    <a:bodyPr/>
                    <a:lstStyle/>
                    <a:p>
                      <a:pPr algn="l" rtl="0" fontAlgn="ctr"/>
                      <a:endParaRPr lang="en-US"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dirty="0">
                          <a:solidFill>
                            <a:srgbClr val="000000"/>
                          </a:solidFill>
                          <a:effectLst/>
                          <a:latin typeface="Calibri" panose="020F0502020204030204" pitchFamily="34" charset="0"/>
                        </a:rPr>
                        <a:t>Fund</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dirty="0">
                          <a:solidFill>
                            <a:srgbClr val="000000"/>
                          </a:solidFill>
                          <a:effectLst/>
                          <a:latin typeface="Calibri" panose="020F0502020204030204" pitchFamily="34" charset="0"/>
                        </a:rPr>
                        <a:t>Benchmark</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US" sz="900" b="1" i="0" u="none" strike="noStrike">
                          <a:solidFill>
                            <a:srgbClr val="000000"/>
                          </a:solidFill>
                          <a:effectLst/>
                          <a:latin typeface="Calibri" panose="020F0502020204030204" pitchFamily="34" charset="0"/>
                        </a:rPr>
                        <a:t>Alpha</a:t>
                      </a:r>
                      <a:endParaRPr lang="en-US" sz="900" b="1"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5 YTD</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0.0%</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4</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0.0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0.0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0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3</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1.2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1.3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03%</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2 </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6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6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0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1</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5.5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25.5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0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20</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5.7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6.1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36%</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19</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3.4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3.48%</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00%</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18</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6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6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0.0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194188">
                <a:tc>
                  <a:txBody>
                    <a:bodyPr/>
                    <a:lstStyle/>
                    <a:p>
                      <a:pPr algn="ctr" rtl="0" fontAlgn="ctr"/>
                      <a:r>
                        <a:rPr lang="en-US" sz="900" b="1" i="0" u="none" strike="noStrike" dirty="0">
                          <a:solidFill>
                            <a:srgbClr val="000000"/>
                          </a:solidFill>
                          <a:effectLst/>
                          <a:latin typeface="Calibri" panose="020F0502020204030204" pitchFamily="34" charset="0"/>
                        </a:rPr>
                        <a:t>2017</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0.0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0.2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0.26%</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30" name="Table 29"/>
          <p:cNvGraphicFramePr>
            <a:graphicFrameLocks noGrp="1"/>
          </p:cNvGraphicFramePr>
          <p:nvPr/>
        </p:nvGraphicFramePr>
        <p:xfrm>
          <a:off x="3066142" y="2884020"/>
          <a:ext cx="2133600" cy="2038770"/>
        </p:xfrm>
        <a:graphic>
          <a:graphicData uri="http://schemas.openxmlformats.org/drawingml/2006/table">
            <a:tbl>
              <a:tblPr bandRow="1"/>
              <a:tblGrid>
                <a:gridCol w="1397000"/>
                <a:gridCol w="736600"/>
              </a:tblGrid>
              <a:tr h="226530">
                <a:tc>
                  <a:txBody>
                    <a:bodyPr/>
                    <a:lstStyle/>
                    <a:p>
                      <a:pPr algn="ctr" fontAlgn="ctr"/>
                      <a:r>
                        <a:rPr lang="en-US" sz="900" b="1" i="0" u="none" strike="noStrike" dirty="0">
                          <a:solidFill>
                            <a:srgbClr val="000000"/>
                          </a:solidFill>
                          <a:effectLst/>
                          <a:latin typeface="Calibri" panose="020F0502020204030204" pitchFamily="34" charset="0"/>
                        </a:rPr>
                        <a:t>Top Holdings</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c>
                  <a:txBody>
                    <a:bodyPr/>
                    <a:lstStyle/>
                    <a:p>
                      <a:pPr algn="ctr" fontAlgn="ctr"/>
                      <a:r>
                        <a:rPr lang="en-US" sz="900" b="1" i="0" u="none" strike="noStrike" dirty="0">
                          <a:solidFill>
                            <a:srgbClr val="000000"/>
                          </a:solidFill>
                          <a:effectLst/>
                          <a:latin typeface="Calibri" panose="020F0502020204030204" pitchFamily="34" charset="0"/>
                        </a:rPr>
                        <a:t>% Allocation</a:t>
                      </a:r>
                      <a:endParaRPr lang="en-US" sz="900" b="1"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solidFill>
                      <a:srgbClr val="F2F2F2"/>
                    </a:solidFill>
                  </a:tcPr>
                </a:tc>
              </a:tr>
              <a:tr h="226530">
                <a:tc>
                  <a:txBody>
                    <a:bodyPr/>
                    <a:lstStyle/>
                    <a:p>
                      <a:pPr algn="ctr" rtl="0" fontAlgn="ctr"/>
                      <a:r>
                        <a:rPr lang="en-GB" sz="900" b="0" i="0" u="none" strike="noStrike">
                          <a:solidFill>
                            <a:srgbClr val="000000"/>
                          </a:solidFill>
                          <a:effectLst/>
                          <a:latin typeface="Calibri" panose="020F0502020204030204" pitchFamily="34" charset="0"/>
                        </a:rPr>
                        <a:t> HDFC Ban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13.1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26530">
                <a:tc>
                  <a:txBody>
                    <a:bodyPr/>
                    <a:lstStyle/>
                    <a:p>
                      <a:pPr algn="ctr" rtl="0" fontAlgn="ctr"/>
                      <a:r>
                        <a:rPr lang="en-GB" sz="900" b="0" i="0" u="none" strike="noStrike">
                          <a:solidFill>
                            <a:srgbClr val="000000"/>
                          </a:solidFill>
                          <a:effectLst/>
                          <a:latin typeface="Calibri" panose="020F0502020204030204" pitchFamily="34" charset="0"/>
                        </a:rPr>
                        <a:t> ICICI Bank</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9.1</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26530">
                <a:tc>
                  <a:txBody>
                    <a:bodyPr/>
                    <a:lstStyle/>
                    <a:p>
                      <a:pPr algn="ctr" rtl="0" fontAlgn="ctr"/>
                      <a:r>
                        <a:rPr lang="en-GB" sz="900" b="0" i="0" u="none" strike="noStrike">
                          <a:solidFill>
                            <a:srgbClr val="000000"/>
                          </a:solidFill>
                          <a:effectLst/>
                          <a:latin typeface="Calibri" panose="020F0502020204030204" pitchFamily="34" charset="0"/>
                        </a:rPr>
                        <a:t> Reliance Ind</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8.59</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26530">
                <a:tc>
                  <a:txBody>
                    <a:bodyPr/>
                    <a:lstStyle/>
                    <a:p>
                      <a:pPr algn="ctr" rtl="0" fontAlgn="ctr"/>
                      <a:r>
                        <a:rPr lang="en-GB" sz="900" b="0" i="0" u="none" strike="noStrike">
                          <a:solidFill>
                            <a:srgbClr val="000000"/>
                          </a:solidFill>
                          <a:effectLst/>
                          <a:latin typeface="Calibri" panose="020F0502020204030204" pitchFamily="34" charset="0"/>
                        </a:rPr>
                        <a:t> Infosys</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5.02</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26530">
                <a:tc>
                  <a:txBody>
                    <a:bodyPr/>
                    <a:lstStyle/>
                    <a:p>
                      <a:pPr algn="ctr" rtl="0" fontAlgn="ctr"/>
                      <a:r>
                        <a:rPr lang="en-GB" sz="900" b="0" i="0" u="none" strike="noStrike">
                          <a:solidFill>
                            <a:srgbClr val="000000"/>
                          </a:solidFill>
                          <a:effectLst/>
                          <a:latin typeface="Calibri" panose="020F0502020204030204" pitchFamily="34" charset="0"/>
                        </a:rPr>
                        <a:t> Bharti Airtel</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4.44</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26530">
                <a:tc>
                  <a:txBody>
                    <a:bodyPr/>
                    <a:lstStyle/>
                    <a:p>
                      <a:pPr algn="ctr" rtl="0" fontAlgn="ctr"/>
                      <a:r>
                        <a:rPr lang="en-GB" sz="900" b="0" i="0" u="none" strike="noStrike">
                          <a:solidFill>
                            <a:srgbClr val="000000"/>
                          </a:solidFill>
                          <a:effectLst/>
                          <a:latin typeface="Calibri" panose="020F0502020204030204" pitchFamily="34" charset="0"/>
                        </a:rPr>
                        <a:t> Larsen &amp; Toubro</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85</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26530">
                <a:tc>
                  <a:txBody>
                    <a:bodyPr/>
                    <a:lstStyle/>
                    <a:p>
                      <a:pPr algn="ctr" rtl="0" fontAlgn="ctr"/>
                      <a:r>
                        <a:rPr lang="en-GB" sz="900" b="0" i="0" u="none" strike="noStrike">
                          <a:solidFill>
                            <a:srgbClr val="000000"/>
                          </a:solidFill>
                          <a:effectLst/>
                          <a:latin typeface="Calibri" panose="020F0502020204030204" pitchFamily="34" charset="0"/>
                        </a:rPr>
                        <a:t> ITC</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a:solidFill>
                            <a:srgbClr val="000000"/>
                          </a:solidFill>
                          <a:effectLst/>
                          <a:latin typeface="Calibri" panose="020F0502020204030204" pitchFamily="34" charset="0"/>
                        </a:rPr>
                        <a:t>3.47</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r h="226530">
                <a:tc>
                  <a:txBody>
                    <a:bodyPr/>
                    <a:lstStyle/>
                    <a:p>
                      <a:pPr algn="ctr" rtl="0" fontAlgn="ctr"/>
                      <a:r>
                        <a:rPr lang="en-GB" sz="900" b="0" i="0" u="none" strike="noStrike">
                          <a:solidFill>
                            <a:srgbClr val="000000"/>
                          </a:solidFill>
                          <a:effectLst/>
                          <a:latin typeface="Calibri" panose="020F0502020204030204" pitchFamily="34" charset="0"/>
                        </a:rPr>
                        <a:t> Tata Consultancy</a:t>
                      </a:r>
                      <a:endParaRPr lang="en-GB" sz="900" b="0" i="0" u="none" strike="noStrike">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c>
                  <a:txBody>
                    <a:bodyPr/>
                    <a:lstStyle/>
                    <a:p>
                      <a:pPr algn="ctr" rtl="0" fontAlgn="ctr"/>
                      <a:r>
                        <a:rPr lang="en-GB" sz="900" b="0" i="0" u="none" strike="noStrike" dirty="0">
                          <a:solidFill>
                            <a:srgbClr val="000000"/>
                          </a:solidFill>
                          <a:effectLst/>
                          <a:latin typeface="Calibri" panose="020F0502020204030204" pitchFamily="34" charset="0"/>
                        </a:rPr>
                        <a:t>3.15</a:t>
                      </a:r>
                      <a:endParaRPr lang="en-GB" sz="900" b="0" i="0" u="none" strike="noStrike" dirty="0">
                        <a:solidFill>
                          <a:srgbClr val="000000"/>
                        </a:solidFill>
                        <a:effectLst/>
                        <a:latin typeface="Calibri" panose="020F0502020204030204" pitchFamily="34" charset="0"/>
                      </a:endParaRPr>
                    </a:p>
                  </a:txBody>
                  <a:tcPr marL="6350" marR="6350" marT="6350" marB="0" anchor="ctr">
                    <a:lnL>
                      <a:noFill/>
                    </a:lnL>
                    <a:lnR>
                      <a:noFill/>
                    </a:lnR>
                    <a:lnT>
                      <a:noFill/>
                    </a:lnT>
                    <a:lnB>
                      <a:noFill/>
                    </a:lnB>
                  </a:tcPr>
                </a:tc>
              </a:tr>
            </a:tbl>
          </a:graphicData>
        </a:graphic>
      </p:graphicFrame>
      <p:graphicFrame>
        <p:nvGraphicFramePr>
          <p:cNvPr id="2" name="Chart 1"/>
          <p:cNvGraphicFramePr/>
          <p:nvPr/>
        </p:nvGraphicFramePr>
        <p:xfrm>
          <a:off x="5364110" y="2884020"/>
          <a:ext cx="3723447" cy="2203494"/>
        </p:xfrm>
        <a:graphic>
          <a:graphicData uri="http://schemas.openxmlformats.org/drawingml/2006/chart">
            <c:chart xmlns:c="http://schemas.openxmlformats.org/drawingml/2006/chart" xmlns:r="http://schemas.openxmlformats.org/officeDocument/2006/relationships" r:id="rId1"/>
          </a:graphicData>
        </a:graphic>
      </p:graphicFrame>
    </p:spTree>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700" dirty="0">
                <a:latin typeface="Calibri" panose="020F0502020204030204" pitchFamily="34" charset="0"/>
                <a:cs typeface="Calibri" panose="020F0502020204030204" pitchFamily="34" charset="0"/>
              </a:rPr>
              <a:t>Key Terms</a:t>
            </a:r>
            <a:endParaRPr lang="en-IN" sz="2700" dirty="0">
              <a:latin typeface="Calibri" panose="020F0502020204030204" pitchFamily="34" charset="0"/>
              <a:cs typeface="Calibri" panose="020F0502020204030204" pitchFamily="34" charset="0"/>
            </a:endParaRPr>
          </a:p>
        </p:txBody>
      </p:sp>
      <p:graphicFrame>
        <p:nvGraphicFramePr>
          <p:cNvPr id="10" name="Table 9"/>
          <p:cNvGraphicFramePr>
            <a:graphicFrameLocks noGrp="1"/>
          </p:cNvGraphicFramePr>
          <p:nvPr/>
        </p:nvGraphicFramePr>
        <p:xfrm>
          <a:off x="720725" y="897384"/>
          <a:ext cx="7595794" cy="4050695"/>
        </p:xfrm>
        <a:graphic>
          <a:graphicData uri="http://schemas.openxmlformats.org/drawingml/2006/table">
            <a:tbl>
              <a:tblPr/>
              <a:tblGrid>
                <a:gridCol w="2802586"/>
                <a:gridCol w="4793208"/>
              </a:tblGrid>
              <a:tr h="368245">
                <a:tc>
                  <a:txBody>
                    <a:bodyPr/>
                    <a:lstStyle/>
                    <a:p>
                      <a:pPr algn="l" fontAlgn="ctr"/>
                      <a:r>
                        <a:rPr lang="en-US" sz="1100" b="1" i="0" u="none" strike="noStrike" dirty="0">
                          <a:solidFill>
                            <a:schemeClr val="tx1"/>
                          </a:solidFill>
                          <a:effectLst/>
                          <a:latin typeface="Calibri" panose="020F0502020204030204" pitchFamily="34" charset="0"/>
                        </a:rPr>
                        <a:t> </a:t>
                      </a:r>
                      <a:endParaRPr lang="en-US" sz="1100" b="1" i="0" u="none" strike="noStrike" dirty="0">
                        <a:solidFill>
                          <a:schemeClr val="tx1"/>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US" sz="1100" b="1" i="0" u="none" strike="noStrike" dirty="0">
                          <a:solidFill>
                            <a:schemeClr val="tx1"/>
                          </a:solidFill>
                          <a:effectLst/>
                          <a:latin typeface="Calibri" panose="020F0502020204030204" pitchFamily="34" charset="0"/>
                        </a:rPr>
                        <a:t>CA Multi-manager Portfolio</a:t>
                      </a:r>
                      <a:endParaRPr lang="en-US" sz="1100" b="1" i="0" u="none" strike="noStrike" dirty="0">
                        <a:solidFill>
                          <a:schemeClr val="tx1"/>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r>
              <a:tr h="368245">
                <a:tc>
                  <a:txBody>
                    <a:bodyPr/>
                    <a:lstStyle/>
                    <a:p>
                      <a:pPr algn="ctr" fontAlgn="ctr"/>
                      <a:r>
                        <a:rPr lang="en-IN" sz="1100" b="1" i="0" u="none" strike="noStrike" dirty="0">
                          <a:solidFill>
                            <a:srgbClr val="000000"/>
                          </a:solidFill>
                          <a:effectLst/>
                          <a:latin typeface="Calibri" panose="020F0502020204030204" pitchFamily="34" charset="0"/>
                        </a:rPr>
                        <a:t>Benchmark</a:t>
                      </a:r>
                      <a:endParaRPr lang="en-IN" sz="110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S&amp;P BSE 500 TRI</a:t>
                      </a:r>
                      <a:endParaRPr lang="en-US" sz="110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245">
                <a:tc>
                  <a:txBody>
                    <a:bodyPr/>
                    <a:lstStyle/>
                    <a:p>
                      <a:pPr algn="ctr" fontAlgn="ctr"/>
                      <a:r>
                        <a:rPr lang="en-IN" sz="1100" b="1" i="0" u="none" strike="noStrike" dirty="0">
                          <a:solidFill>
                            <a:srgbClr val="000000"/>
                          </a:solidFill>
                          <a:effectLst/>
                          <a:latin typeface="Calibri" panose="020F0502020204030204" pitchFamily="34" charset="0"/>
                        </a:rPr>
                        <a:t>Portfolio Style</a:t>
                      </a:r>
                      <a:endParaRPr lang="en-IN" sz="110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Multi-Cap</a:t>
                      </a:r>
                      <a:endParaRPr lang="en-US" sz="110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245">
                <a:tc>
                  <a:txBody>
                    <a:bodyPr/>
                    <a:lstStyle/>
                    <a:p>
                      <a:pPr algn="ctr" fontAlgn="ctr"/>
                      <a:r>
                        <a:rPr lang="en-IN" sz="1100" b="1" i="0" u="none" strike="noStrike" dirty="0">
                          <a:solidFill>
                            <a:srgbClr val="000000"/>
                          </a:solidFill>
                          <a:effectLst/>
                          <a:latin typeface="Calibri" panose="020F0502020204030204" pitchFamily="34" charset="0"/>
                        </a:rPr>
                        <a:t>Portfolio Manger</a:t>
                      </a:r>
                      <a:endParaRPr lang="en-IN" sz="110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100" b="0" i="0" u="none" strike="noStrike" dirty="0">
                          <a:solidFill>
                            <a:srgbClr val="000000"/>
                          </a:solidFill>
                          <a:effectLst/>
                          <a:latin typeface="Calibri" panose="020F0502020204030204" pitchFamily="34" charset="0"/>
                        </a:rPr>
                        <a:t>CA Investment Research &amp; Advisory Team &amp; CA IC</a:t>
                      </a:r>
                      <a:endParaRPr lang="en-IN" sz="110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245">
                <a:tc>
                  <a:txBody>
                    <a:bodyPr/>
                    <a:lstStyle/>
                    <a:p>
                      <a:pPr algn="ctr" fontAlgn="ctr"/>
                      <a:r>
                        <a:rPr lang="en-IN" sz="1100" b="1" i="0" u="none" strike="noStrike" dirty="0">
                          <a:solidFill>
                            <a:srgbClr val="000000"/>
                          </a:solidFill>
                          <a:effectLst/>
                          <a:latin typeface="Calibri" panose="020F0502020204030204" pitchFamily="34" charset="0"/>
                        </a:rPr>
                        <a:t>Structure</a:t>
                      </a:r>
                      <a:endParaRPr lang="en-IN" sz="110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100" b="0" i="0" u="none" strike="noStrike" dirty="0">
                          <a:solidFill>
                            <a:srgbClr val="000000"/>
                          </a:solidFill>
                          <a:effectLst/>
                          <a:latin typeface="Calibri" panose="020F0502020204030204" pitchFamily="34" charset="0"/>
                        </a:rPr>
                        <a:t>PMS</a:t>
                      </a:r>
                      <a:endParaRPr lang="en-IN" sz="110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245">
                <a:tc>
                  <a:txBody>
                    <a:bodyPr/>
                    <a:lstStyle/>
                    <a:p>
                      <a:pPr algn="ctr" fontAlgn="ctr"/>
                      <a:r>
                        <a:rPr lang="en-US" sz="1100" b="1" i="0" u="none" strike="noStrike" dirty="0">
                          <a:solidFill>
                            <a:srgbClr val="000000"/>
                          </a:solidFill>
                          <a:effectLst/>
                          <a:latin typeface="Calibri" panose="020F0502020204030204" pitchFamily="34" charset="0"/>
                        </a:rPr>
                        <a:t>Broker</a:t>
                      </a:r>
                      <a:endParaRPr lang="en-US" sz="110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Ambit</a:t>
                      </a:r>
                      <a:endParaRPr lang="en-US" sz="110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245">
                <a:tc>
                  <a:txBody>
                    <a:bodyPr/>
                    <a:lstStyle/>
                    <a:p>
                      <a:pPr algn="ctr" fontAlgn="ctr"/>
                      <a:r>
                        <a:rPr lang="en-US" sz="1100" b="1" i="0" u="none" strike="noStrike" dirty="0">
                          <a:solidFill>
                            <a:srgbClr val="000000"/>
                          </a:solidFill>
                          <a:effectLst/>
                          <a:latin typeface="Calibri" panose="020F0502020204030204" pitchFamily="34" charset="0"/>
                        </a:rPr>
                        <a:t>Custodian</a:t>
                      </a:r>
                      <a:endParaRPr lang="en-US" sz="110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ICICI Bank Ltd</a:t>
                      </a:r>
                      <a:endParaRPr lang="en-US" sz="110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245">
                <a:tc>
                  <a:txBody>
                    <a:bodyPr/>
                    <a:lstStyle/>
                    <a:p>
                      <a:pPr algn="ctr" fontAlgn="ctr"/>
                      <a:r>
                        <a:rPr lang="en-IN" sz="1100" b="1" i="0" u="none" strike="noStrike" dirty="0">
                          <a:solidFill>
                            <a:srgbClr val="000000"/>
                          </a:solidFill>
                          <a:effectLst/>
                          <a:latin typeface="Calibri" panose="020F0502020204030204" pitchFamily="34" charset="0"/>
                        </a:rPr>
                        <a:t>Min Investment</a:t>
                      </a:r>
                      <a:endParaRPr lang="en-IN" sz="110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100" b="0" i="0" u="none" strike="noStrike" dirty="0">
                          <a:solidFill>
                            <a:srgbClr val="000000"/>
                          </a:solidFill>
                          <a:effectLst/>
                          <a:latin typeface="Calibri" panose="020F0502020204030204" pitchFamily="34" charset="0"/>
                        </a:rPr>
                        <a:t>INR 50 lacs</a:t>
                      </a:r>
                      <a:endParaRPr lang="en-IN" sz="110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245">
                <a:tc>
                  <a:txBody>
                    <a:bodyPr/>
                    <a:lstStyle/>
                    <a:p>
                      <a:pPr algn="ctr" fontAlgn="ctr"/>
                      <a:r>
                        <a:rPr lang="en-IN" sz="1100" b="1" i="0" u="none" strike="noStrike" dirty="0">
                          <a:solidFill>
                            <a:srgbClr val="000000"/>
                          </a:solidFill>
                          <a:effectLst/>
                          <a:latin typeface="Calibri" panose="020F0502020204030204" pitchFamily="34" charset="0"/>
                        </a:rPr>
                        <a:t>Fixed Management Fee  (Direct)</a:t>
                      </a:r>
                      <a:endParaRPr lang="en-IN" sz="110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100" b="0" i="0" u="none" strike="noStrike" dirty="0">
                          <a:solidFill>
                            <a:srgbClr val="000000"/>
                          </a:solidFill>
                          <a:effectLst/>
                          <a:latin typeface="Calibri" panose="020F0502020204030204" pitchFamily="34" charset="0"/>
                        </a:rPr>
                        <a:t> 0.25% p.a.</a:t>
                      </a:r>
                      <a:endParaRPr lang="en-IN" sz="110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245">
                <a:tc>
                  <a:txBody>
                    <a:bodyPr/>
                    <a:lstStyle/>
                    <a:p>
                      <a:pPr algn="ctr" fontAlgn="ctr"/>
                      <a:r>
                        <a:rPr lang="en-IN" sz="1100" b="1" i="0" u="none" strike="noStrike" dirty="0">
                          <a:solidFill>
                            <a:srgbClr val="000000"/>
                          </a:solidFill>
                          <a:effectLst/>
                          <a:latin typeface="Calibri" panose="020F0502020204030204" pitchFamily="34" charset="0"/>
                        </a:rPr>
                        <a:t>Weighted Average Expense Ratio of </a:t>
                      </a:r>
                      <a:endParaRPr lang="en-IN" sz="1100" b="1" i="0" u="none" strike="noStrike" dirty="0">
                        <a:solidFill>
                          <a:srgbClr val="000000"/>
                        </a:solidFill>
                        <a:effectLst/>
                        <a:latin typeface="Calibri" panose="020F0502020204030204" pitchFamily="34" charset="0"/>
                      </a:endParaRPr>
                    </a:p>
                    <a:p>
                      <a:pPr algn="ctr" fontAlgn="ctr"/>
                      <a:r>
                        <a:rPr lang="en-IN" sz="1100" b="1" i="0" u="none" strike="noStrike" dirty="0">
                          <a:solidFill>
                            <a:srgbClr val="000000"/>
                          </a:solidFill>
                          <a:effectLst/>
                          <a:latin typeface="Calibri" panose="020F0502020204030204" pitchFamily="34" charset="0"/>
                        </a:rPr>
                        <a:t>underlying funds and ETFs</a:t>
                      </a:r>
                      <a:endParaRPr lang="en-IN" sz="110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100" b="0" i="0" u="none" strike="noStrike" dirty="0">
                          <a:solidFill>
                            <a:srgbClr val="000000"/>
                          </a:solidFill>
                          <a:effectLst/>
                          <a:latin typeface="Calibri" panose="020F0502020204030204" pitchFamily="34" charset="0"/>
                        </a:rPr>
                        <a:t>0.41%</a:t>
                      </a:r>
                      <a:endParaRPr lang="en-IN" sz="110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245">
                <a:tc>
                  <a:txBody>
                    <a:bodyPr/>
                    <a:lstStyle/>
                    <a:p>
                      <a:pPr algn="ctr" fontAlgn="ctr"/>
                      <a:r>
                        <a:rPr lang="en-IN" sz="1100" b="1" i="0" u="none" strike="noStrike" dirty="0">
                          <a:solidFill>
                            <a:srgbClr val="000000"/>
                          </a:solidFill>
                          <a:effectLst/>
                          <a:latin typeface="Calibri" panose="020F0502020204030204" pitchFamily="34" charset="0"/>
                        </a:rPr>
                        <a:t>Entry &amp; Exit Load</a:t>
                      </a:r>
                      <a:endParaRPr lang="en-IN" sz="110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100" b="0" i="0" u="none" strike="noStrike" dirty="0">
                          <a:solidFill>
                            <a:srgbClr val="000000"/>
                          </a:solidFill>
                          <a:effectLst/>
                          <a:latin typeface="Calibri" panose="020F0502020204030204" pitchFamily="34" charset="0"/>
                        </a:rPr>
                        <a:t>NIL</a:t>
                      </a:r>
                      <a:endParaRPr lang="en-IN" sz="110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77" name="Picture 129" descr="sb10068459r-0021"/>
          <p:cNvPicPr>
            <a:picLocks noChangeAspect="1" noChangeArrowheads="1"/>
          </p:cNvPicPr>
          <p:nvPr/>
        </p:nvPicPr>
        <p:blipFill>
          <a:blip r:embed="rId1">
            <a:grayscl/>
            <a:extLst>
              <a:ext uri="{28A0092B-C50C-407E-A947-70E740481C1C}">
                <a14:useLocalDpi xmlns:a14="http://schemas.microsoft.com/office/drawing/2010/main" val="0"/>
              </a:ext>
            </a:extLst>
          </a:blip>
          <a:srcRect/>
          <a:stretch>
            <a:fillRect/>
          </a:stretch>
        </p:blipFill>
        <p:spPr bwMode="auto">
          <a:xfrm>
            <a:off x="4572000" y="0"/>
            <a:ext cx="4572000" cy="5154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6" name="Line 108"/>
          <p:cNvSpPr>
            <a:spLocks noChangeShapeType="1"/>
          </p:cNvSpPr>
          <p:nvPr/>
        </p:nvSpPr>
        <p:spPr bwMode="auto">
          <a:xfrm>
            <a:off x="1143000" y="4572000"/>
            <a:ext cx="3143250" cy="0"/>
          </a:xfrm>
          <a:prstGeom prst="line">
            <a:avLst/>
          </a:prstGeom>
          <a:noFill/>
          <a:ln w="22225">
            <a:solidFill>
              <a:schemeClr val="accent1"/>
            </a:solidFill>
            <a:round/>
          </a:ln>
          <a:extLst>
            <a:ext uri="{909E8E84-426E-40DD-AFC4-6F175D3DCCD1}">
              <a14:hiddenFill xmlns:a14="http://schemas.microsoft.com/office/drawing/2010/main">
                <a:noFill/>
              </a14:hiddenFill>
            </a:ext>
          </a:extLst>
        </p:spPr>
        <p:txBody>
          <a:bodyPr/>
          <a:lstStyle/>
          <a:p>
            <a:endParaRPr lang="en-IN" dirty="0"/>
          </a:p>
        </p:txBody>
      </p:sp>
      <p:sp>
        <p:nvSpPr>
          <p:cNvPr id="2157" name="Line 109"/>
          <p:cNvSpPr>
            <a:spLocks noChangeShapeType="1"/>
          </p:cNvSpPr>
          <p:nvPr/>
        </p:nvSpPr>
        <p:spPr bwMode="auto">
          <a:xfrm flipV="1">
            <a:off x="1143000" y="3371850"/>
            <a:ext cx="3143250" cy="0"/>
          </a:xfrm>
          <a:prstGeom prst="line">
            <a:avLst/>
          </a:prstGeom>
          <a:noFill/>
          <a:ln w="22225">
            <a:solidFill>
              <a:schemeClr val="accent1"/>
            </a:solidFill>
            <a:round/>
          </a:ln>
          <a:extLst>
            <a:ext uri="{909E8E84-426E-40DD-AFC4-6F175D3DCCD1}">
              <a14:hiddenFill xmlns:a14="http://schemas.microsoft.com/office/drawing/2010/main">
                <a:noFill/>
              </a14:hiddenFill>
            </a:ext>
          </a:extLst>
        </p:spPr>
        <p:txBody>
          <a:bodyPr/>
          <a:lstStyle/>
          <a:p>
            <a:endParaRPr lang="en-IN" dirty="0"/>
          </a:p>
        </p:txBody>
      </p:sp>
      <p:sp>
        <p:nvSpPr>
          <p:cNvPr id="2182" name="Text Box 134"/>
          <p:cNvSpPr txBox="1">
            <a:spLocks noChangeArrowheads="1"/>
          </p:cNvSpPr>
          <p:nvPr/>
        </p:nvSpPr>
        <p:spPr bwMode="auto">
          <a:xfrm>
            <a:off x="4572000" y="454819"/>
            <a:ext cx="3239691"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Narrow" panose="020B0606020202030204" pitchFamily="34" charset="0"/>
              </a:defRPr>
            </a:lvl1pPr>
            <a:lvl2pPr marL="742950" indent="-285750">
              <a:spcBef>
                <a:spcPct val="20000"/>
              </a:spcBef>
              <a:buChar char="–"/>
              <a:defRPr sz="2200">
                <a:solidFill>
                  <a:schemeClr val="tx1"/>
                </a:solidFill>
                <a:latin typeface="Arial Narrow" panose="020B0606020202030204" pitchFamily="34" charset="0"/>
              </a:defRPr>
            </a:lvl2pPr>
            <a:lvl3pPr marL="1143000" indent="-228600">
              <a:spcBef>
                <a:spcPct val="20000"/>
              </a:spcBef>
              <a:buChar char="•"/>
              <a:defRPr sz="2000">
                <a:solidFill>
                  <a:schemeClr val="tx1"/>
                </a:solidFill>
                <a:latin typeface="Arial Narrow" panose="020B0606020202030204" pitchFamily="34" charset="0"/>
              </a:defRPr>
            </a:lvl3pPr>
            <a:lvl4pPr marL="1600200" indent="-228600">
              <a:spcBef>
                <a:spcPct val="20000"/>
              </a:spcBef>
              <a:buChar char="–"/>
              <a:defRPr sz="2000">
                <a:solidFill>
                  <a:schemeClr val="tx1"/>
                </a:solidFill>
                <a:latin typeface="Arial Narrow" panose="020B0606020202030204" pitchFamily="34" charset="0"/>
              </a:defRPr>
            </a:lvl4pPr>
            <a:lvl5pPr marL="2057400" indent="-228600">
              <a:spcBef>
                <a:spcPct val="20000"/>
              </a:spcBef>
              <a:buChar char="»"/>
              <a:defRPr sz="1600">
                <a:solidFill>
                  <a:schemeClr val="tx1"/>
                </a:solidFill>
                <a:latin typeface="Arial Narrow" panose="020B0606020202030204" pitchFamily="34" charset="0"/>
              </a:defRPr>
            </a:lvl5pPr>
            <a:lvl6pPr marL="2514600" indent="-228600" eaLnBrk="0" fontAlgn="base" hangingPunct="0">
              <a:spcBef>
                <a:spcPct val="20000"/>
              </a:spcBef>
              <a:spcAft>
                <a:spcPct val="0"/>
              </a:spcAft>
              <a:buChar char="»"/>
              <a:defRPr sz="1600">
                <a:solidFill>
                  <a:schemeClr val="tx1"/>
                </a:solidFill>
                <a:latin typeface="Arial Narrow" panose="020B0606020202030204" pitchFamily="34" charset="0"/>
              </a:defRPr>
            </a:lvl6pPr>
            <a:lvl7pPr marL="2971800" indent="-228600" eaLnBrk="0" fontAlgn="base" hangingPunct="0">
              <a:spcBef>
                <a:spcPct val="20000"/>
              </a:spcBef>
              <a:spcAft>
                <a:spcPct val="0"/>
              </a:spcAft>
              <a:buChar char="»"/>
              <a:defRPr sz="1600">
                <a:solidFill>
                  <a:schemeClr val="tx1"/>
                </a:solidFill>
                <a:latin typeface="Arial Narrow" panose="020B0606020202030204" pitchFamily="34" charset="0"/>
              </a:defRPr>
            </a:lvl7pPr>
            <a:lvl8pPr marL="3429000" indent="-228600" eaLnBrk="0" fontAlgn="base" hangingPunct="0">
              <a:spcBef>
                <a:spcPct val="20000"/>
              </a:spcBef>
              <a:spcAft>
                <a:spcPct val="0"/>
              </a:spcAft>
              <a:buChar char="»"/>
              <a:defRPr sz="1600">
                <a:solidFill>
                  <a:schemeClr val="tx1"/>
                </a:solidFill>
                <a:latin typeface="Arial Narrow" panose="020B0606020202030204" pitchFamily="34" charset="0"/>
              </a:defRPr>
            </a:lvl8pPr>
            <a:lvl9pPr marL="3886200" indent="-228600" eaLnBrk="0" fontAlgn="base" hangingPunct="0">
              <a:spcBef>
                <a:spcPct val="20000"/>
              </a:spcBef>
              <a:spcAft>
                <a:spcPct val="0"/>
              </a:spcAft>
              <a:buChar char="»"/>
              <a:defRPr sz="1600">
                <a:solidFill>
                  <a:schemeClr val="tx1"/>
                </a:solidFill>
                <a:latin typeface="Arial Narrow" panose="020B0606020202030204" pitchFamily="34" charset="0"/>
              </a:defRPr>
            </a:lvl9pPr>
          </a:lstStyle>
          <a:p>
            <a:pPr eaLnBrk="1" hangingPunct="1">
              <a:spcBef>
                <a:spcPct val="0"/>
              </a:spcBef>
              <a:buFontTx/>
              <a:buNone/>
            </a:pPr>
            <a:r>
              <a:rPr lang="en-US" altLang="en-US" sz="1950" dirty="0">
                <a:solidFill>
                  <a:srgbClr val="EAEAEA"/>
                </a:solidFill>
              </a:rPr>
              <a:t>Wealth is only a means </a:t>
            </a:r>
            <a:endParaRPr lang="en-US" altLang="en-US" sz="1950" dirty="0">
              <a:solidFill>
                <a:srgbClr val="EAEAEA"/>
              </a:solidFill>
            </a:endParaRPr>
          </a:p>
          <a:p>
            <a:pPr eaLnBrk="1" hangingPunct="1">
              <a:spcBef>
                <a:spcPct val="0"/>
              </a:spcBef>
              <a:buFontTx/>
              <a:buNone/>
            </a:pPr>
            <a:r>
              <a:rPr lang="en-US" altLang="en-US" sz="1950" dirty="0">
                <a:solidFill>
                  <a:srgbClr val="EAEAEA"/>
                </a:solidFill>
              </a:rPr>
              <a:t>to an end …</a:t>
            </a:r>
            <a:endParaRPr lang="en-US" altLang="en-US" sz="1950" dirty="0">
              <a:solidFill>
                <a:srgbClr val="EAEAEA"/>
              </a:solidFill>
            </a:endParaRPr>
          </a:p>
        </p:txBody>
      </p:sp>
      <p:sp>
        <p:nvSpPr>
          <p:cNvPr id="2" name="TextBox 1"/>
          <p:cNvSpPr txBox="1"/>
          <p:nvPr/>
        </p:nvSpPr>
        <p:spPr>
          <a:xfrm>
            <a:off x="1377174" y="3579890"/>
            <a:ext cx="2380011" cy="784830"/>
          </a:xfrm>
          <a:prstGeom prst="rect">
            <a:avLst/>
          </a:prstGeom>
          <a:noFill/>
        </p:spPr>
        <p:txBody>
          <a:bodyPr wrap="none" rtlCol="0">
            <a:spAutoFit/>
          </a:bodyPr>
          <a:lstStyle/>
          <a:p>
            <a:pPr algn="ctr"/>
            <a:r>
              <a:rPr lang="en-IN" sz="1500" dirty="0">
                <a:latin typeface="Calibri" panose="020F0502020204030204" pitchFamily="34" charset="0"/>
              </a:rPr>
              <a:t>CA Multi-manager Portfolio</a:t>
            </a:r>
            <a:endParaRPr lang="en-IN" sz="1500" dirty="0">
              <a:latin typeface="Calibri" panose="020F0502020204030204" pitchFamily="34" charset="0"/>
            </a:endParaRPr>
          </a:p>
          <a:p>
            <a:pPr algn="ctr"/>
            <a:r>
              <a:rPr lang="en-IN" sz="1500" dirty="0">
                <a:latin typeface="Calibri" panose="020F0502020204030204" pitchFamily="34" charset="0"/>
              </a:rPr>
              <a:t>June’2025</a:t>
            </a:r>
            <a:endParaRPr lang="en-IN" sz="1500" dirty="0">
              <a:latin typeface="Calibri" panose="020F0502020204030204" pitchFamily="34" charset="0"/>
            </a:endParaRPr>
          </a:p>
          <a:p>
            <a:endParaRPr lang="en-IN" sz="1500" dirty="0">
              <a:latin typeface="Calibri" panose="020F0502020204030204" pitchFamily="34" charset="0"/>
            </a:endParaRPr>
          </a:p>
        </p:txBody>
      </p:sp>
      <p:pic>
        <p:nvPicPr>
          <p:cNvPr id="8" name="Picture"/>
          <p:cNvPicPr>
            <a:picLocks noChangeAspect="1"/>
          </p:cNvPicPr>
          <p:nvPr/>
        </p:nvPicPr>
        <p:blipFill>
          <a:blip r:embed="rId2"/>
          <a:srcRect/>
          <a:stretch>
            <a:fillRect l="13043"/>
          </a:stretch>
        </p:blipFill>
        <p:spPr>
          <a:xfrm>
            <a:off x="1979640" y="1358098"/>
            <a:ext cx="1080150" cy="827103"/>
          </a:xfrm>
          <a:prstGeom prst="rect">
            <a:avLst/>
          </a:prstGeom>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77"/>
                                        </p:tgtEl>
                                        <p:attrNameLst>
                                          <p:attrName>style.visibility</p:attrName>
                                        </p:attrNameLst>
                                      </p:cBhvr>
                                      <p:to>
                                        <p:strVal val="visible"/>
                                      </p:to>
                                    </p:set>
                                    <p:animEffect transition="in" filter="fade">
                                      <p:cBhvr>
                                        <p:cTn id="7" dur="1000"/>
                                        <p:tgtEl>
                                          <p:spTgt spid="2177"/>
                                        </p:tgtEl>
                                      </p:cBhvr>
                                    </p:animEffect>
                                  </p:childTnLst>
                                </p:cTn>
                              </p:par>
                            </p:childTnLst>
                          </p:cTn>
                        </p:par>
                        <p:par>
                          <p:cTn id="8" fill="hold">
                            <p:stCondLst>
                              <p:cond delay="1000"/>
                            </p:stCondLst>
                            <p:childTnLst>
                              <p:par>
                                <p:cTn id="9" presetID="9" presetClass="entr" presetSubtype="0" fill="hold" nodeType="afterEffect">
                                  <p:stCondLst>
                                    <p:cond delay="0"/>
                                  </p:stCondLst>
                                  <p:childTnLst>
                                    <p:set>
                                      <p:cBhvr>
                                        <p:cTn id="10" dur="1" fill="hold">
                                          <p:stCondLst>
                                            <p:cond delay="0"/>
                                          </p:stCondLst>
                                        </p:cTn>
                                        <p:tgtEl>
                                          <p:spTgt spid="2156"/>
                                        </p:tgtEl>
                                        <p:attrNameLst>
                                          <p:attrName>style.visibility</p:attrName>
                                        </p:attrNameLst>
                                      </p:cBhvr>
                                      <p:to>
                                        <p:strVal val="visible"/>
                                      </p:to>
                                    </p:set>
                                    <p:animEffect transition="in" filter="dissolve">
                                      <p:cBhvr>
                                        <p:cTn id="11" dur="500"/>
                                        <p:tgtEl>
                                          <p:spTgt spid="2156"/>
                                        </p:tgtEl>
                                      </p:cBhvr>
                                    </p:animEffect>
                                  </p:childTnLst>
                                </p:cTn>
                              </p:par>
                              <p:par>
                                <p:cTn id="12" presetID="9" presetClass="entr" presetSubtype="0" fill="hold" nodeType="withEffect">
                                  <p:stCondLst>
                                    <p:cond delay="0"/>
                                  </p:stCondLst>
                                  <p:childTnLst>
                                    <p:set>
                                      <p:cBhvr>
                                        <p:cTn id="13" dur="1" fill="hold">
                                          <p:stCondLst>
                                            <p:cond delay="0"/>
                                          </p:stCondLst>
                                        </p:cTn>
                                        <p:tgtEl>
                                          <p:spTgt spid="2157"/>
                                        </p:tgtEl>
                                        <p:attrNameLst>
                                          <p:attrName>style.visibility</p:attrName>
                                        </p:attrNameLst>
                                      </p:cBhvr>
                                      <p:to>
                                        <p:strVal val="visible"/>
                                      </p:to>
                                    </p:set>
                                    <p:animEffect transition="in" filter="dissolve">
                                      <p:cBhvr>
                                        <p:cTn id="14" dur="500"/>
                                        <p:tgtEl>
                                          <p:spTgt spid="215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182"/>
                                        </p:tgtEl>
                                        <p:attrNameLst>
                                          <p:attrName>style.visibility</p:attrName>
                                        </p:attrNameLst>
                                      </p:cBhvr>
                                      <p:to>
                                        <p:strVal val="visible"/>
                                      </p:to>
                                    </p:set>
                                    <p:animEffect transition="in" filter="fade">
                                      <p:cBhvr>
                                        <p:cTn id="17" dur="1000"/>
                                        <p:tgtEl>
                                          <p:spTgt spid="21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82"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720725" y="339725"/>
            <a:ext cx="6814608" cy="467469"/>
          </a:xfrm>
        </p:spPr>
        <p:txBody>
          <a:bodyPr/>
          <a:lstStyle/>
          <a:p>
            <a:pPr eaLnBrk="1" fontAlgn="auto" hangingPunct="1">
              <a:spcAft>
                <a:spcPts val="0"/>
              </a:spcAft>
              <a:defRPr/>
            </a:pPr>
            <a:r>
              <a:rPr lang="en-US" b="1" dirty="0">
                <a:latin typeface="Bebas Neue Light" panose="00000500000000000000" pitchFamily="2" charset="0"/>
                <a:cs typeface="+mj-cs"/>
              </a:rPr>
              <a:t>Disclaimer</a:t>
            </a:r>
            <a:endParaRPr lang="en-US" b="1" dirty="0">
              <a:latin typeface="Bebas Neue Light" panose="00000500000000000000" pitchFamily="2" charset="0"/>
              <a:cs typeface="+mj-cs"/>
            </a:endParaRPr>
          </a:p>
        </p:txBody>
      </p:sp>
      <p:sp>
        <p:nvSpPr>
          <p:cNvPr id="19459" name="텍스트 개체 틀 7"/>
          <p:cNvSpPr>
            <a:spLocks noGrp="1"/>
          </p:cNvSpPr>
          <p:nvPr>
            <p:ph type="body" sz="quarter" idx="10"/>
          </p:nvPr>
        </p:nvSpPr>
        <p:spPr bwMode="auto">
          <a:xfrm>
            <a:off x="720725" y="1135063"/>
            <a:ext cx="7829550" cy="2994025"/>
          </a:xfrm>
          <a:noFill/>
          <a:ln>
            <a:miter lim="800000"/>
          </a:ln>
        </p:spPr>
        <p:txBody>
          <a:bodyPr vert="horz" wrap="square" numCol="1" anchor="t" anchorCtr="0" compatLnSpc="1"/>
          <a:lstStyle/>
          <a:p>
            <a:pPr eaLnBrk="1" hangingPunct="1">
              <a:spcBef>
                <a:spcPct val="0"/>
              </a:spcBef>
              <a:buClr>
                <a:schemeClr val="bg2"/>
              </a:buClr>
            </a:pPr>
            <a:r>
              <a:rPr lang="en-IN" sz="900" dirty="0">
                <a:solidFill>
                  <a:schemeClr val="tx1"/>
                </a:solidFill>
                <a:ea typeface="Roboto Condensed Regular"/>
              </a:rPr>
              <a:t>The Presentation is for informational purposes only and should not be regarded as an offer to sell or as a solicitation of an offer to buy the securities or other investments mentioned in it.</a:t>
            </a:r>
            <a:endParaRPr lang="en-IN" sz="900" dirty="0">
              <a:solidFill>
                <a:schemeClr val="tx1"/>
              </a:solidFill>
              <a:ea typeface="Roboto Condensed Regular"/>
            </a:endParaRPr>
          </a:p>
          <a:p>
            <a:pPr eaLnBrk="1" hangingPunct="1">
              <a:spcBef>
                <a:spcPct val="0"/>
              </a:spcBef>
              <a:buClr>
                <a:schemeClr val="bg2"/>
              </a:buClr>
            </a:pPr>
            <a:endParaRPr lang="en-IN" sz="900" dirty="0">
              <a:solidFill>
                <a:schemeClr val="tx1"/>
              </a:solidFill>
              <a:ea typeface="Roboto Condensed Regular"/>
            </a:endParaRPr>
          </a:p>
          <a:p>
            <a:pPr eaLnBrk="1" hangingPunct="1">
              <a:spcBef>
                <a:spcPct val="0"/>
              </a:spcBef>
              <a:buClr>
                <a:schemeClr val="bg2"/>
              </a:buClr>
            </a:pPr>
            <a:r>
              <a:rPr lang="en-IN" sz="900" dirty="0">
                <a:solidFill>
                  <a:schemeClr val="tx1"/>
                </a:solidFill>
                <a:ea typeface="Roboto Condensed Regular"/>
              </a:rPr>
              <a:t>We do not represent that any information, including any third party information, is accurate or complete and it should not be relied upon without proper investigation on the part of the investor/s. Investments in securities/equity related instruments are subject to market risk. These risks could be security specific or market specific and arising from company, industry, political, economic (both domestic and global), etc, factors. </a:t>
            </a:r>
            <a:endParaRPr lang="en-IN" sz="900" dirty="0">
              <a:solidFill>
                <a:schemeClr val="tx1"/>
              </a:solidFill>
              <a:ea typeface="Roboto Condensed Regular"/>
            </a:endParaRPr>
          </a:p>
          <a:p>
            <a:pPr eaLnBrk="1" hangingPunct="1">
              <a:spcBef>
                <a:spcPct val="0"/>
              </a:spcBef>
              <a:buClr>
                <a:schemeClr val="bg2"/>
              </a:buClr>
            </a:pPr>
            <a:endParaRPr lang="en-IN" sz="900" dirty="0">
              <a:solidFill>
                <a:schemeClr val="tx1"/>
              </a:solidFill>
              <a:ea typeface="Roboto Condensed Regular"/>
            </a:endParaRPr>
          </a:p>
          <a:p>
            <a:pPr eaLnBrk="1" hangingPunct="1">
              <a:spcBef>
                <a:spcPct val="0"/>
              </a:spcBef>
              <a:buClr>
                <a:schemeClr val="bg2"/>
              </a:buClr>
            </a:pPr>
            <a:r>
              <a:rPr lang="en-IN" sz="900" dirty="0">
                <a:solidFill>
                  <a:schemeClr val="tx1"/>
                </a:solidFill>
                <a:ea typeface="Roboto Condensed Regular"/>
              </a:rPr>
              <a:t>Past performance of strategy does not indicate the future performance of any current or future fund or scheme. There is no assurance or guarantee that the objectives of any fund or scheme advised or managed will be achieved. Presenter or any of its director/s or principal officer/employees does not assure/give guarantee for any return on the funds/securities given by the Investor or under any schemes to be offered under any Discretionary or Non-discretionary services. </a:t>
            </a:r>
            <a:endParaRPr lang="en-IN" sz="900" dirty="0">
              <a:solidFill>
                <a:schemeClr val="tx1"/>
              </a:solidFill>
              <a:ea typeface="Roboto Condensed Regular"/>
            </a:endParaRPr>
          </a:p>
          <a:p>
            <a:pPr eaLnBrk="1" hangingPunct="1">
              <a:spcBef>
                <a:spcPct val="0"/>
              </a:spcBef>
              <a:buClr>
                <a:schemeClr val="bg2"/>
              </a:buClr>
            </a:pPr>
            <a:endParaRPr lang="en-IN" sz="900" dirty="0">
              <a:solidFill>
                <a:schemeClr val="tx1"/>
              </a:solidFill>
              <a:ea typeface="Roboto Condensed Regular"/>
            </a:endParaRPr>
          </a:p>
          <a:p>
            <a:pPr eaLnBrk="1" hangingPunct="1">
              <a:spcBef>
                <a:spcPct val="0"/>
              </a:spcBef>
              <a:buClr>
                <a:schemeClr val="bg2"/>
              </a:buClr>
            </a:pPr>
            <a:r>
              <a:rPr lang="en-IN" sz="900" dirty="0">
                <a:solidFill>
                  <a:schemeClr val="tx1"/>
                </a:solidFill>
                <a:ea typeface="Roboto Condensed Regular"/>
              </a:rPr>
              <a:t>Investor should carefully read all disclosure documents before investing and shall not make Presenter and/or its associates/employees liable for any risks/losses pertaining to any product/scheme launched by various managers time to time. In the terms of all the above, the Investors are and shall be solely responsible for the consequences of their own investment decisions.</a:t>
            </a:r>
            <a:endParaRPr lang="en-IN" sz="900" dirty="0">
              <a:solidFill>
                <a:schemeClr val="tx1"/>
              </a:solidFill>
              <a:ea typeface="Roboto Condensed Regular"/>
            </a:endParaRPr>
          </a:p>
          <a:p>
            <a:pPr eaLnBrk="1" hangingPunct="1">
              <a:spcBef>
                <a:spcPct val="0"/>
              </a:spcBef>
              <a:buClr>
                <a:schemeClr val="bg2"/>
              </a:buClr>
            </a:pPr>
            <a:endParaRPr lang="en-IN" sz="900" dirty="0">
              <a:solidFill>
                <a:schemeClr val="tx1"/>
              </a:solidFill>
              <a:ea typeface="Roboto Condensed Regular"/>
            </a:endParaRPr>
          </a:p>
          <a:p>
            <a:pPr eaLnBrk="1" hangingPunct="1">
              <a:spcBef>
                <a:spcPts val="50"/>
              </a:spcBef>
            </a:pPr>
            <a:r>
              <a:rPr lang="en-IN" sz="900" dirty="0">
                <a:solidFill>
                  <a:schemeClr val="tx1"/>
                </a:solidFill>
                <a:ea typeface="Gulim" pitchFamily="34" charset="-127"/>
                <a:cs typeface="Tahoma" panose="020B0604030504040204" pitchFamily="34" charset="0"/>
              </a:rPr>
              <a:t>This Presentation is subject to changes without prior notice and is intended only for the person or entity to which it is addressed to. No portion of this document shall be reproduced, reprinted, duplicated, sold or redistributed. Also, this publication may not be distributed to the public media or quoted or used by the public media without the express written consent of Pioneer Client Associates </a:t>
            </a:r>
            <a:r>
              <a:rPr lang="en-IN" sz="900" dirty="0" err="1">
                <a:solidFill>
                  <a:schemeClr val="tx1"/>
                </a:solidFill>
                <a:ea typeface="Gulim" pitchFamily="34" charset="-127"/>
                <a:cs typeface="Tahoma" panose="020B0604030504040204" pitchFamily="34" charset="0"/>
              </a:rPr>
              <a:t>Pvt.</a:t>
            </a:r>
            <a:r>
              <a:rPr lang="en-IN" sz="900" dirty="0">
                <a:solidFill>
                  <a:schemeClr val="tx1"/>
                </a:solidFill>
                <a:ea typeface="Gulim" pitchFamily="34" charset="-127"/>
                <a:cs typeface="Tahoma" panose="020B0604030504040204" pitchFamily="34" charset="0"/>
              </a:rPr>
              <a:t> Ltd. We do not warrant the accuracy, adequacy or completeness of this information and materials and expressly disclaims liability for any errors or omissions or delays in this information and materials.</a:t>
            </a:r>
            <a:endParaRPr lang="en-IN" sz="900" dirty="0">
              <a:solidFill>
                <a:schemeClr val="tx1"/>
              </a:solidFill>
              <a:ea typeface="Gulim" pitchFamily="34" charset="-127"/>
              <a:cs typeface="Tahoma" panose="020B0604030504040204" pitchFamily="34" charset="0"/>
            </a:endParaRPr>
          </a:p>
          <a:p>
            <a:pPr eaLnBrk="1" hangingPunct="1">
              <a:spcBef>
                <a:spcPts val="400"/>
              </a:spcBef>
            </a:pPr>
            <a:r>
              <a:rPr lang="en-IN" sz="900" dirty="0">
                <a:solidFill>
                  <a:schemeClr val="tx1"/>
                </a:solidFill>
                <a:ea typeface="Gulim" pitchFamily="34" charset="-127"/>
                <a:cs typeface="Tahoma" panose="020B0604030504040204" pitchFamily="34" charset="0"/>
              </a:rPr>
              <a:t>This document is not directed or intended for distribution to, or use by, any person or entity who is citizen or resident of or located in any locality, state, country or other jurisdiction, where such distribution, publication, availability or use would be contrary to law, regulation or which would subject Pioneer Client Associates </a:t>
            </a:r>
            <a:r>
              <a:rPr lang="en-IN" sz="900" dirty="0" err="1">
                <a:solidFill>
                  <a:schemeClr val="tx1"/>
                </a:solidFill>
                <a:ea typeface="Gulim" pitchFamily="34" charset="-127"/>
                <a:cs typeface="Tahoma" panose="020B0604030504040204" pitchFamily="34" charset="0"/>
              </a:rPr>
              <a:t>Pvt.</a:t>
            </a:r>
            <a:r>
              <a:rPr lang="en-IN" sz="900" dirty="0">
                <a:solidFill>
                  <a:schemeClr val="tx1"/>
                </a:solidFill>
                <a:ea typeface="Gulim" pitchFamily="34" charset="-127"/>
                <a:cs typeface="Tahoma" panose="020B0604030504040204" pitchFamily="34" charset="0"/>
              </a:rPr>
              <a:t> Ltd. and affiliates to any registration or licensing requirement within such jurisdiction. Person in whose possession this document may come are required to inform themselves of and to observe such restriction.</a:t>
            </a:r>
            <a:endParaRPr lang="en-IN" sz="900" dirty="0">
              <a:solidFill>
                <a:schemeClr val="tx1"/>
              </a:solidFill>
              <a:ea typeface="Gulim" pitchFamily="34" charset="-127"/>
              <a:cs typeface="Tahoma" panose="020B0604030504040204" pitchFamily="34" charset="0"/>
            </a:endParaRPr>
          </a:p>
        </p:txBody>
      </p:sp>
    </p:spTree>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nvGraphicFramePr>
        <p:xfrm>
          <a:off x="583311" y="483460"/>
          <a:ext cx="3779265" cy="4038899"/>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graphicFrame>
        <p:nvGraphicFramePr>
          <p:cNvPr id="12" name="Diagram 11"/>
          <p:cNvGraphicFramePr/>
          <p:nvPr/>
        </p:nvGraphicFramePr>
        <p:xfrm>
          <a:off x="4644010" y="351695"/>
          <a:ext cx="3672510" cy="427592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4" name="Title 1"/>
          <p:cNvSpPr>
            <a:spLocks noGrp="1"/>
          </p:cNvSpPr>
          <p:nvPr>
            <p:ph type="title"/>
          </p:nvPr>
        </p:nvSpPr>
        <p:spPr>
          <a:xfrm>
            <a:off x="683460" y="351695"/>
            <a:ext cx="6815138" cy="466725"/>
          </a:xfrm>
        </p:spPr>
        <p:txBody>
          <a:bodyPr/>
          <a:lstStyle/>
          <a:p>
            <a:r>
              <a:rPr lang="en-IN" sz="2700" dirty="0">
                <a:latin typeface="Calibri" panose="020F0502020204030204" pitchFamily="34" charset="0"/>
                <a:cs typeface="Calibri" panose="020F0502020204030204" pitchFamily="34" charset="0"/>
              </a:rPr>
              <a:t>Investment Management Processes</a:t>
            </a:r>
            <a:endParaRPr lang="en-IN" sz="2700" dirty="0">
              <a:latin typeface="Calibri" panose="020F0502020204030204" pitchFamily="34" charset="0"/>
              <a:cs typeface="Calibri" panose="020F0502020204030204" pitchFamily="34" charset="0"/>
            </a:endParaRPr>
          </a:p>
        </p:txBody>
      </p:sp>
      <p:sp>
        <p:nvSpPr>
          <p:cNvPr id="15" name="TextBox 14"/>
          <p:cNvSpPr txBox="1"/>
          <p:nvPr/>
        </p:nvSpPr>
        <p:spPr>
          <a:xfrm>
            <a:off x="488914" y="4782063"/>
            <a:ext cx="3635245" cy="246221"/>
          </a:xfrm>
          <a:prstGeom prst="rect">
            <a:avLst/>
          </a:prstGeom>
          <a:noFill/>
        </p:spPr>
        <p:txBody>
          <a:bodyPr wrap="square" rtlCol="0">
            <a:spAutoFit/>
          </a:bodyPr>
          <a:lstStyle/>
          <a:p>
            <a:r>
              <a:rPr lang="en-IN" sz="1000" dirty="0"/>
              <a:t>*Strategic &amp; Tactical allocation and capital deployment</a:t>
            </a:r>
            <a:endParaRPr lang="en-IN" sz="1000" dirty="0"/>
          </a:p>
        </p:txBody>
      </p:sp>
      <p:sp>
        <p:nvSpPr>
          <p:cNvPr id="2" name="Right Brace 1"/>
          <p:cNvSpPr/>
          <p:nvPr/>
        </p:nvSpPr>
        <p:spPr>
          <a:xfrm rot="5400000" flipH="1">
            <a:off x="3588020" y="1527605"/>
            <a:ext cx="432060" cy="5256730"/>
          </a:xfrm>
          <a:prstGeom prst="rightBrace">
            <a:avLst>
              <a:gd name="adj1" fmla="val 8333"/>
              <a:gd name="adj2" fmla="val 53318"/>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3" name="TextBox 2"/>
          <p:cNvSpPr txBox="1"/>
          <p:nvPr/>
        </p:nvSpPr>
        <p:spPr>
          <a:xfrm>
            <a:off x="3275820" y="4224539"/>
            <a:ext cx="1086756" cy="323165"/>
          </a:xfrm>
          <a:prstGeom prst="rect">
            <a:avLst/>
          </a:prstGeom>
          <a:noFill/>
        </p:spPr>
        <p:txBody>
          <a:bodyPr wrap="square" rtlCol="0">
            <a:spAutoFit/>
          </a:bodyPr>
          <a:lstStyle/>
          <a:p>
            <a:r>
              <a:rPr lang="en-IN" sz="1500" dirty="0">
                <a:latin typeface="Calibri" panose="020F0502020204030204" pitchFamily="34" charset="0"/>
              </a:rPr>
              <a:t>   ~85-90%</a:t>
            </a:r>
            <a:endParaRPr lang="en-IN" sz="1500" dirty="0">
              <a:latin typeface="Calibri" panose="020F0502020204030204" pitchFamily="34" charset="0"/>
            </a:endParaRPr>
          </a:p>
        </p:txBody>
      </p:sp>
      <p:sp>
        <p:nvSpPr>
          <p:cNvPr id="8" name="Right Brace 7"/>
          <p:cNvSpPr/>
          <p:nvPr/>
        </p:nvSpPr>
        <p:spPr>
          <a:xfrm rot="5400000" flipH="1">
            <a:off x="7560414" y="3615895"/>
            <a:ext cx="432060" cy="1080150"/>
          </a:xfrm>
          <a:prstGeom prst="rightBrace">
            <a:avLst>
              <a:gd name="adj1" fmla="val 8333"/>
              <a:gd name="adj2" fmla="val 53318"/>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9" name="TextBox 8"/>
          <p:cNvSpPr txBox="1"/>
          <p:nvPr/>
        </p:nvSpPr>
        <p:spPr>
          <a:xfrm>
            <a:off x="7308380" y="4245082"/>
            <a:ext cx="1086756" cy="323165"/>
          </a:xfrm>
          <a:prstGeom prst="rect">
            <a:avLst/>
          </a:prstGeom>
          <a:noFill/>
        </p:spPr>
        <p:txBody>
          <a:bodyPr wrap="square" rtlCol="0">
            <a:spAutoFit/>
          </a:bodyPr>
          <a:lstStyle/>
          <a:p>
            <a:r>
              <a:rPr lang="en-IN" sz="1500" dirty="0">
                <a:latin typeface="Calibri" panose="020F0502020204030204" pitchFamily="34" charset="0"/>
              </a:rPr>
              <a:t>   ~10-15%</a:t>
            </a:r>
            <a:endParaRPr lang="en-IN" sz="1500" dirty="0">
              <a:latin typeface="Calibri" panose="020F0502020204030204" pitchFamily="34" charset="0"/>
            </a:endParaRPr>
          </a:p>
        </p:txBody>
      </p:sp>
    </p:spTree>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nvGraphicFramePr>
        <p:xfrm>
          <a:off x="611450" y="818420"/>
          <a:ext cx="3779265" cy="4038899"/>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graphicFrame>
        <p:nvGraphicFramePr>
          <p:cNvPr id="12" name="Diagram 11"/>
          <p:cNvGraphicFramePr/>
          <p:nvPr/>
        </p:nvGraphicFramePr>
        <p:xfrm>
          <a:off x="4600994" y="644642"/>
          <a:ext cx="3672510" cy="427592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4" name="Title 1"/>
          <p:cNvSpPr>
            <a:spLocks noGrp="1"/>
          </p:cNvSpPr>
          <p:nvPr>
            <p:ph type="title"/>
          </p:nvPr>
        </p:nvSpPr>
        <p:spPr>
          <a:xfrm>
            <a:off x="683460" y="351695"/>
            <a:ext cx="6815138" cy="466725"/>
          </a:xfrm>
        </p:spPr>
        <p:txBody>
          <a:bodyPr/>
          <a:lstStyle/>
          <a:p>
            <a:r>
              <a:rPr lang="en-IN" sz="2700" dirty="0">
                <a:latin typeface="Calibri" panose="020F0502020204030204" pitchFamily="34" charset="0"/>
                <a:cs typeface="Calibri" panose="020F0502020204030204" pitchFamily="34" charset="0"/>
              </a:rPr>
              <a:t>Manager/Fund Selection </a:t>
            </a:r>
            <a:endParaRPr lang="en-IN" sz="2700" dirty="0">
              <a:latin typeface="Calibri" panose="020F0502020204030204" pitchFamily="34" charset="0"/>
              <a:cs typeface="Calibri" panose="020F0502020204030204" pitchFamily="34" charset="0"/>
            </a:endParaRPr>
          </a:p>
        </p:txBody>
      </p:sp>
      <p:sp>
        <p:nvSpPr>
          <p:cNvPr id="15" name="TextBox 14"/>
          <p:cNvSpPr txBox="1"/>
          <p:nvPr/>
        </p:nvSpPr>
        <p:spPr>
          <a:xfrm>
            <a:off x="488914" y="4782063"/>
            <a:ext cx="3635245" cy="276999"/>
          </a:xfrm>
          <a:prstGeom prst="rect">
            <a:avLst/>
          </a:prstGeom>
          <a:noFill/>
        </p:spPr>
        <p:txBody>
          <a:bodyPr wrap="square" rtlCol="0">
            <a:spAutoFit/>
          </a:bodyPr>
          <a:lstStyle/>
          <a:p>
            <a:r>
              <a:rPr lang="en-IN" sz="1200" dirty="0"/>
              <a:t>Source: CA Research &amp; Analysis</a:t>
            </a:r>
            <a:endParaRPr lang="en-IN" sz="1200" dirty="0"/>
          </a:p>
        </p:txBody>
      </p:sp>
    </p:spTree>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1321" y="136042"/>
            <a:ext cx="5341527" cy="461665"/>
          </a:xfrm>
          <a:prstGeom prst="rect">
            <a:avLst/>
          </a:prstGeom>
          <a:noFill/>
        </p:spPr>
        <p:txBody>
          <a:bodyPr wrap="none" rtlCol="0">
            <a:spAutoFit/>
          </a:bodyPr>
          <a:lstStyle/>
          <a:p>
            <a:r>
              <a:rPr lang="en-US" sz="2400" dirty="0">
                <a:solidFill>
                  <a:srgbClr val="084795"/>
                </a:solidFill>
                <a:latin typeface="Roboto" panose="02000000000000000000" pitchFamily="2" charset="0"/>
                <a:ea typeface="Roboto" panose="02000000000000000000" pitchFamily="2" charset="0"/>
                <a:cs typeface="Roboto" panose="02000000000000000000" pitchFamily="2" charset="0"/>
              </a:rPr>
              <a:t>Model Portfolio Construction Process</a:t>
            </a:r>
            <a:endParaRPr lang="en-US" sz="2400" dirty="0">
              <a:solidFill>
                <a:srgbClr val="084795"/>
              </a:solidFill>
              <a:latin typeface="Roboto" panose="02000000000000000000" pitchFamily="2" charset="0"/>
              <a:ea typeface="Roboto" panose="02000000000000000000" pitchFamily="2" charset="0"/>
              <a:cs typeface="Roboto" panose="02000000000000000000" pitchFamily="2" charset="0"/>
            </a:endParaRPr>
          </a:p>
        </p:txBody>
      </p:sp>
      <p:grpSp>
        <p:nvGrpSpPr>
          <p:cNvPr id="14" name="Group 13"/>
          <p:cNvGrpSpPr/>
          <p:nvPr/>
        </p:nvGrpSpPr>
        <p:grpSpPr>
          <a:xfrm>
            <a:off x="688704" y="1720235"/>
            <a:ext cx="2150309" cy="1773555"/>
            <a:chOff x="248450" y="1230629"/>
            <a:chExt cx="2867078" cy="2364740"/>
          </a:xfrm>
        </p:grpSpPr>
        <p:sp>
          <p:nvSpPr>
            <p:cNvPr id="32" name="Rectangle: Rounded Corners 31"/>
            <p:cNvSpPr/>
            <p:nvPr/>
          </p:nvSpPr>
          <p:spPr>
            <a:xfrm>
              <a:off x="248450" y="1230629"/>
              <a:ext cx="2867078" cy="2364740"/>
            </a:xfrm>
            <a:prstGeom prst="roundRect">
              <a:avLst>
                <a:gd name="adj" fmla="val 1000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IN"/>
            </a:p>
          </p:txBody>
        </p:sp>
        <p:sp>
          <p:nvSpPr>
            <p:cNvPr id="33" name="Rectangle: Rounded Corners 4"/>
            <p:cNvSpPr txBox="1"/>
            <p:nvPr/>
          </p:nvSpPr>
          <p:spPr>
            <a:xfrm>
              <a:off x="302869" y="1285048"/>
              <a:ext cx="2758240" cy="174917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2869" tIns="92869" rIns="92869" bIns="92869" numCol="1" spcCol="1270" anchor="ctr" anchorCtr="0">
              <a:noAutofit/>
            </a:bodyPr>
            <a:lstStyle/>
            <a:p>
              <a:pPr marL="133350" lvl="1" indent="-133350" defTabSz="400050">
                <a:lnSpc>
                  <a:spcPct val="120000"/>
                </a:lnSpc>
                <a:spcBef>
                  <a:spcPts val="225"/>
                </a:spcBef>
                <a:spcAft>
                  <a:spcPts val="225"/>
                </a:spcAft>
                <a:buChar char="•"/>
              </a:pPr>
              <a:r>
                <a:rPr lang="en-IN" sz="900" dirty="0">
                  <a:latin typeface="Calibri" panose="020F0502020204030204" pitchFamily="34" charset="0"/>
                </a:rPr>
                <a:t>Qualifying Funds from total universe </a:t>
              </a:r>
              <a:endParaRPr lang="en-US" sz="900" dirty="0"/>
            </a:p>
            <a:p>
              <a:pPr marL="133350" lvl="1" indent="-133350" defTabSz="400050">
                <a:lnSpc>
                  <a:spcPct val="120000"/>
                </a:lnSpc>
                <a:spcBef>
                  <a:spcPts val="225"/>
                </a:spcBef>
                <a:spcAft>
                  <a:spcPts val="225"/>
                </a:spcAft>
                <a:buChar char="•"/>
              </a:pPr>
              <a:r>
                <a:rPr lang="en-IN" sz="900" dirty="0">
                  <a:latin typeface="Calibri" panose="020F0502020204030204" pitchFamily="34" charset="0"/>
                </a:rPr>
                <a:t>Financial Modelling basis risk-adjusted returns, and risk parameters including Sharpe, Treynor,  alpha, beta, upside/Downside capture, etc.</a:t>
              </a:r>
              <a:endParaRPr lang="en-IN" sz="900" dirty="0">
                <a:latin typeface="Calibri" panose="020F0502020204030204" pitchFamily="34" charset="0"/>
              </a:endParaRPr>
            </a:p>
            <a:p>
              <a:pPr marL="133350" lvl="1" indent="-133350" defTabSz="400050">
                <a:lnSpc>
                  <a:spcPct val="120000"/>
                </a:lnSpc>
                <a:spcBef>
                  <a:spcPts val="225"/>
                </a:spcBef>
                <a:spcAft>
                  <a:spcPts val="225"/>
                </a:spcAft>
                <a:buChar char="•"/>
              </a:pPr>
              <a:r>
                <a:rPr lang="en-IN" sz="900" dirty="0">
                  <a:latin typeface="Calibri" panose="020F0502020204030204" pitchFamily="34" charset="0"/>
                </a:rPr>
                <a:t>Quartile Analysis - 3 yr/5 yr Ranking</a:t>
              </a:r>
              <a:endParaRPr lang="en-IN" sz="900" dirty="0">
                <a:latin typeface="Calibri" panose="020F0502020204030204" pitchFamily="34" charset="0"/>
              </a:endParaRPr>
            </a:p>
          </p:txBody>
        </p:sp>
      </p:grpSp>
      <p:sp>
        <p:nvSpPr>
          <p:cNvPr id="15" name="Shape 14"/>
          <p:cNvSpPr/>
          <p:nvPr/>
        </p:nvSpPr>
        <p:spPr>
          <a:xfrm rot="21098197">
            <a:off x="2099573" y="1913260"/>
            <a:ext cx="2472038" cy="2472038"/>
          </a:xfrm>
          <a:prstGeom prst="leftCircularArrow">
            <a:avLst>
              <a:gd name="adj1" fmla="val 3559"/>
              <a:gd name="adj2" fmla="val 442164"/>
              <a:gd name="adj3" fmla="val 2217675"/>
              <a:gd name="adj4" fmla="val 9024489"/>
              <a:gd name="adj5" fmla="val 4152"/>
            </a:avLst>
          </a:prstGeom>
          <a:solidFill>
            <a:schemeClr val="accent1">
              <a:lumMod val="75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a:lstStyle/>
          <a:p>
            <a:endParaRPr lang="en-IN">
              <a:solidFill>
                <a:schemeClr val="bg1"/>
              </a:solidFill>
            </a:endParaRPr>
          </a:p>
        </p:txBody>
      </p:sp>
      <p:grpSp>
        <p:nvGrpSpPr>
          <p:cNvPr id="16" name="Group 15"/>
          <p:cNvGrpSpPr/>
          <p:nvPr/>
        </p:nvGrpSpPr>
        <p:grpSpPr>
          <a:xfrm>
            <a:off x="785550" y="3140413"/>
            <a:ext cx="1911386" cy="760095"/>
            <a:chOff x="885578" y="3088640"/>
            <a:chExt cx="2548514" cy="1013460"/>
          </a:xfrm>
          <a:solidFill>
            <a:schemeClr val="accent1">
              <a:lumMod val="75000"/>
            </a:schemeClr>
          </a:solidFill>
        </p:grpSpPr>
        <p:sp>
          <p:nvSpPr>
            <p:cNvPr id="30" name="Rectangle: Rounded Corners 29"/>
            <p:cNvSpPr/>
            <p:nvPr/>
          </p:nvSpPr>
          <p:spPr>
            <a:xfrm>
              <a:off x="885578" y="3088640"/>
              <a:ext cx="2548514" cy="1013460"/>
            </a:xfrm>
            <a:prstGeom prst="roundRect">
              <a:avLst>
                <a:gd name="adj" fmla="val 1000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IN">
                <a:solidFill>
                  <a:schemeClr val="bg1"/>
                </a:solidFill>
              </a:endParaRPr>
            </a:p>
          </p:txBody>
        </p:sp>
        <p:sp>
          <p:nvSpPr>
            <p:cNvPr id="31" name="Rectangle: Rounded Corners 7"/>
            <p:cNvSpPr txBox="1"/>
            <p:nvPr/>
          </p:nvSpPr>
          <p:spPr>
            <a:xfrm>
              <a:off x="915261" y="3118323"/>
              <a:ext cx="2489148" cy="95409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1431" tIns="14288" rIns="21431" bIns="14288" numCol="1" spcCol="1270" anchor="ctr" anchorCtr="0">
              <a:noAutofit/>
            </a:bodyPr>
            <a:lstStyle/>
            <a:p>
              <a:pPr algn="ctr" defTabSz="500380">
                <a:lnSpc>
                  <a:spcPct val="90000"/>
                </a:lnSpc>
                <a:spcAft>
                  <a:spcPct val="35000"/>
                </a:spcAft>
              </a:pPr>
              <a:r>
                <a:rPr lang="en-US" sz="1125" dirty="0">
                  <a:solidFill>
                    <a:schemeClr val="bg1"/>
                  </a:solidFill>
                </a:rPr>
                <a:t>Quantitative Assessment</a:t>
              </a:r>
              <a:endParaRPr lang="en-US" sz="1125" dirty="0">
                <a:solidFill>
                  <a:schemeClr val="bg1"/>
                </a:solidFill>
              </a:endParaRPr>
            </a:p>
          </p:txBody>
        </p:sp>
      </p:grpSp>
      <p:grpSp>
        <p:nvGrpSpPr>
          <p:cNvPr id="17" name="Group 16"/>
          <p:cNvGrpSpPr/>
          <p:nvPr/>
        </p:nvGrpSpPr>
        <p:grpSpPr>
          <a:xfrm>
            <a:off x="3496845" y="1720235"/>
            <a:ext cx="2150309" cy="1773555"/>
            <a:chOff x="3992638" y="1230630"/>
            <a:chExt cx="2867078" cy="2364740"/>
          </a:xfrm>
        </p:grpSpPr>
        <p:sp>
          <p:nvSpPr>
            <p:cNvPr id="28" name="Rectangle: Rounded Corners 27"/>
            <p:cNvSpPr/>
            <p:nvPr/>
          </p:nvSpPr>
          <p:spPr>
            <a:xfrm>
              <a:off x="3992638" y="1230630"/>
              <a:ext cx="2867078" cy="2364740"/>
            </a:xfrm>
            <a:prstGeom prst="roundRect">
              <a:avLst>
                <a:gd name="adj" fmla="val 1000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IN"/>
            </a:p>
          </p:txBody>
        </p:sp>
        <p:sp>
          <p:nvSpPr>
            <p:cNvPr id="29" name="Rectangle: Rounded Corners 9"/>
            <p:cNvSpPr txBox="1"/>
            <p:nvPr/>
          </p:nvSpPr>
          <p:spPr>
            <a:xfrm>
              <a:off x="4047057" y="1791779"/>
              <a:ext cx="2758240" cy="162576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2869" tIns="92869" rIns="92869" bIns="92869" numCol="1" spcCol="1270" anchor="ctr" anchorCtr="0">
              <a:noAutofit/>
            </a:bodyPr>
            <a:lstStyle/>
            <a:p>
              <a:pPr marL="133350" lvl="1" indent="-133350" defTabSz="400050">
                <a:spcBef>
                  <a:spcPts val="225"/>
                </a:spcBef>
                <a:spcAft>
                  <a:spcPts val="225"/>
                </a:spcAft>
                <a:buChar char="•"/>
              </a:pPr>
              <a:r>
                <a:rPr lang="en-US" sz="900" dirty="0">
                  <a:latin typeface="Calibri" panose="020F0502020204030204" pitchFamily="34" charset="0"/>
                </a:rPr>
                <a:t>Manager Meeting/Survey</a:t>
              </a:r>
              <a:endParaRPr lang="en-US" sz="900" dirty="0">
                <a:latin typeface="Calibri" panose="020F0502020204030204" pitchFamily="34" charset="0"/>
              </a:endParaRPr>
            </a:p>
            <a:p>
              <a:pPr marL="133350" lvl="1" indent="-133350" defTabSz="400050">
                <a:spcBef>
                  <a:spcPts val="225"/>
                </a:spcBef>
                <a:spcAft>
                  <a:spcPts val="225"/>
                </a:spcAft>
                <a:buChar char="•"/>
              </a:pPr>
              <a:r>
                <a:rPr lang="en-IN" sz="900" dirty="0">
                  <a:latin typeface="Calibri" panose="020F0502020204030204" pitchFamily="34" charset="0"/>
                </a:rPr>
                <a:t>Portfolio’s financial Metrics (Growth, valuations, and efficiency)</a:t>
              </a:r>
              <a:endParaRPr lang="en-IN" sz="900" dirty="0">
                <a:latin typeface="Calibri" panose="020F0502020204030204" pitchFamily="34" charset="0"/>
              </a:endParaRPr>
            </a:p>
            <a:p>
              <a:pPr marL="133350" lvl="1" indent="-133350" defTabSz="400050">
                <a:spcBef>
                  <a:spcPts val="225"/>
                </a:spcBef>
                <a:spcAft>
                  <a:spcPts val="225"/>
                </a:spcAft>
                <a:buChar char="•"/>
              </a:pPr>
              <a:r>
                <a:rPr lang="en-IN" sz="900" dirty="0">
                  <a:latin typeface="Calibri" panose="020F0502020204030204" pitchFamily="34" charset="0"/>
                </a:rPr>
                <a:t>Style Analysis: GARP, Growth and Value</a:t>
              </a:r>
              <a:endParaRPr lang="en-IN" sz="900" dirty="0">
                <a:latin typeface="Calibri" panose="020F0502020204030204" pitchFamily="34" charset="0"/>
              </a:endParaRPr>
            </a:p>
            <a:p>
              <a:pPr marL="133350" lvl="1" indent="-133350" defTabSz="400050">
                <a:spcBef>
                  <a:spcPts val="225"/>
                </a:spcBef>
                <a:spcAft>
                  <a:spcPts val="225"/>
                </a:spcAft>
                <a:buChar char="•"/>
              </a:pPr>
              <a:r>
                <a:rPr lang="en-IN" sz="900" dirty="0">
                  <a:latin typeface="Calibri" panose="020F0502020204030204" pitchFamily="34" charset="0"/>
                </a:rPr>
                <a:t>Industry and stock allocation</a:t>
              </a:r>
              <a:endParaRPr lang="en-IN" sz="900" dirty="0">
                <a:latin typeface="Calibri" panose="020F0502020204030204" pitchFamily="34" charset="0"/>
              </a:endParaRPr>
            </a:p>
            <a:p>
              <a:pPr marL="133350" lvl="1" indent="-133350" defTabSz="400050">
                <a:spcBef>
                  <a:spcPts val="225"/>
                </a:spcBef>
                <a:spcAft>
                  <a:spcPts val="225"/>
                </a:spcAft>
                <a:buChar char="•"/>
              </a:pPr>
              <a:r>
                <a:rPr lang="en-IN" sz="900" dirty="0">
                  <a:latin typeface="Calibri" panose="020F0502020204030204" pitchFamily="34" charset="0"/>
                </a:rPr>
                <a:t>Common Holdings &amp; Others</a:t>
              </a:r>
              <a:endParaRPr lang="en-IN" sz="900" dirty="0">
                <a:latin typeface="Calibri" panose="020F0502020204030204" pitchFamily="34" charset="0"/>
              </a:endParaRPr>
            </a:p>
          </p:txBody>
        </p:sp>
      </p:grpSp>
      <p:sp>
        <p:nvSpPr>
          <p:cNvPr id="18" name="Arrow: Circular 17"/>
          <p:cNvSpPr/>
          <p:nvPr/>
        </p:nvSpPr>
        <p:spPr>
          <a:xfrm rot="298734">
            <a:off x="4381878" y="758202"/>
            <a:ext cx="3145593" cy="3145593"/>
          </a:xfrm>
          <a:prstGeom prst="circularArrow">
            <a:avLst>
              <a:gd name="adj1" fmla="val 2797"/>
              <a:gd name="adj2" fmla="val 341283"/>
              <a:gd name="adj3" fmla="val 19508690"/>
              <a:gd name="adj4" fmla="val 12600995"/>
              <a:gd name="adj5" fmla="val 3263"/>
            </a:avLst>
          </a:prstGeom>
          <a:solidFill>
            <a:schemeClr val="accent1">
              <a:lumMod val="75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a:lstStyle/>
          <a:p>
            <a:endParaRPr lang="en-IN">
              <a:solidFill>
                <a:schemeClr val="bg1"/>
              </a:solidFill>
            </a:endParaRPr>
          </a:p>
        </p:txBody>
      </p:sp>
      <p:grpSp>
        <p:nvGrpSpPr>
          <p:cNvPr id="19" name="Group 18"/>
          <p:cNvGrpSpPr/>
          <p:nvPr/>
        </p:nvGrpSpPr>
        <p:grpSpPr>
          <a:xfrm>
            <a:off x="3627985" y="1321139"/>
            <a:ext cx="1911386" cy="760095"/>
            <a:chOff x="4167492" y="698502"/>
            <a:chExt cx="2548514" cy="1013460"/>
          </a:xfrm>
          <a:solidFill>
            <a:schemeClr val="accent1">
              <a:lumMod val="75000"/>
            </a:schemeClr>
          </a:solidFill>
        </p:grpSpPr>
        <p:sp>
          <p:nvSpPr>
            <p:cNvPr id="26" name="Rectangle: Rounded Corners 25"/>
            <p:cNvSpPr/>
            <p:nvPr/>
          </p:nvSpPr>
          <p:spPr>
            <a:xfrm>
              <a:off x="4167492" y="698502"/>
              <a:ext cx="2548514" cy="1013460"/>
            </a:xfrm>
            <a:prstGeom prst="roundRect">
              <a:avLst>
                <a:gd name="adj" fmla="val 1000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IN">
                <a:solidFill>
                  <a:schemeClr val="bg1"/>
                </a:solidFill>
              </a:endParaRPr>
            </a:p>
          </p:txBody>
        </p:sp>
        <p:sp>
          <p:nvSpPr>
            <p:cNvPr id="27" name="Rectangle: Rounded Corners 12"/>
            <p:cNvSpPr txBox="1"/>
            <p:nvPr/>
          </p:nvSpPr>
          <p:spPr>
            <a:xfrm>
              <a:off x="4197175" y="728185"/>
              <a:ext cx="2489148" cy="95409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1431" tIns="14288" rIns="21431" bIns="14288" numCol="1" spcCol="1270" anchor="ctr" anchorCtr="0">
              <a:noAutofit/>
            </a:bodyPr>
            <a:lstStyle/>
            <a:p>
              <a:pPr algn="ctr" defTabSz="500380">
                <a:lnSpc>
                  <a:spcPct val="90000"/>
                </a:lnSpc>
                <a:spcAft>
                  <a:spcPct val="35000"/>
                </a:spcAft>
              </a:pPr>
              <a:r>
                <a:rPr lang="en-US" sz="1125" dirty="0">
                  <a:solidFill>
                    <a:schemeClr val="bg1"/>
                  </a:solidFill>
                </a:rPr>
                <a:t>Qualitative Assessment</a:t>
              </a:r>
              <a:endParaRPr lang="en-US" sz="1125" dirty="0">
                <a:solidFill>
                  <a:schemeClr val="bg1"/>
                </a:solidFill>
              </a:endParaRPr>
            </a:p>
          </p:txBody>
        </p:sp>
      </p:grpSp>
      <p:grpSp>
        <p:nvGrpSpPr>
          <p:cNvPr id="20" name="Group 19"/>
          <p:cNvGrpSpPr/>
          <p:nvPr/>
        </p:nvGrpSpPr>
        <p:grpSpPr>
          <a:xfrm>
            <a:off x="6304987" y="1720235"/>
            <a:ext cx="2150309" cy="1773555"/>
            <a:chOff x="7736827" y="1230629"/>
            <a:chExt cx="2867078" cy="2364740"/>
          </a:xfrm>
        </p:grpSpPr>
        <p:sp>
          <p:nvSpPr>
            <p:cNvPr id="24" name="Rectangle: Rounded Corners 23"/>
            <p:cNvSpPr/>
            <p:nvPr/>
          </p:nvSpPr>
          <p:spPr>
            <a:xfrm>
              <a:off x="7736827" y="1230629"/>
              <a:ext cx="2867078" cy="2364740"/>
            </a:xfrm>
            <a:prstGeom prst="roundRect">
              <a:avLst>
                <a:gd name="adj" fmla="val 1000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IN"/>
            </a:p>
          </p:txBody>
        </p:sp>
        <p:sp>
          <p:nvSpPr>
            <p:cNvPr id="25" name="Rectangle: Rounded Corners 14"/>
            <p:cNvSpPr txBox="1"/>
            <p:nvPr/>
          </p:nvSpPr>
          <p:spPr>
            <a:xfrm>
              <a:off x="7791246" y="1268704"/>
              <a:ext cx="2758240" cy="166624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2869" tIns="92869" rIns="92869" bIns="92869" numCol="1" spcCol="1270" anchor="t" anchorCtr="0">
              <a:noAutofit/>
            </a:bodyPr>
            <a:lstStyle/>
            <a:p>
              <a:pPr marL="133350" lvl="1" indent="-133350" defTabSz="400050">
                <a:lnSpc>
                  <a:spcPct val="120000"/>
                </a:lnSpc>
                <a:spcBef>
                  <a:spcPts val="225"/>
                </a:spcBef>
                <a:spcAft>
                  <a:spcPts val="225"/>
                </a:spcAft>
                <a:buChar char="•"/>
              </a:pPr>
              <a:r>
                <a:rPr lang="en-US" sz="900" dirty="0">
                  <a:latin typeface="Calibri" panose="020F0502020204030204" pitchFamily="34" charset="0"/>
                </a:rPr>
                <a:t>Investment committee discusses both quantitative and qualitative analysis</a:t>
              </a:r>
              <a:endParaRPr lang="en-US" sz="900" dirty="0">
                <a:latin typeface="Calibri" panose="020F0502020204030204" pitchFamily="34" charset="0"/>
              </a:endParaRPr>
            </a:p>
            <a:p>
              <a:pPr marL="133350" lvl="1" indent="-133350" defTabSz="400050">
                <a:lnSpc>
                  <a:spcPct val="120000"/>
                </a:lnSpc>
                <a:spcBef>
                  <a:spcPts val="225"/>
                </a:spcBef>
                <a:spcAft>
                  <a:spcPts val="225"/>
                </a:spcAft>
                <a:buChar char="•"/>
              </a:pPr>
              <a:r>
                <a:rPr lang="en-US" sz="900" dirty="0">
                  <a:latin typeface="Calibri" panose="020F0502020204030204" pitchFamily="34" charset="0"/>
                </a:rPr>
                <a:t>Category Allocation (Large, Mid, &amp; small)</a:t>
              </a:r>
              <a:endParaRPr lang="en-US" sz="900" dirty="0">
                <a:latin typeface="Calibri" panose="020F0502020204030204" pitchFamily="34" charset="0"/>
              </a:endParaRPr>
            </a:p>
            <a:p>
              <a:pPr marL="133350" lvl="1" indent="-133350" defTabSz="400050">
                <a:lnSpc>
                  <a:spcPct val="120000"/>
                </a:lnSpc>
                <a:spcBef>
                  <a:spcPts val="225"/>
                </a:spcBef>
                <a:spcAft>
                  <a:spcPts val="225"/>
                </a:spcAft>
                <a:buChar char="•"/>
              </a:pPr>
              <a:r>
                <a:rPr lang="en-US" sz="900" dirty="0">
                  <a:latin typeface="Calibri" panose="020F0502020204030204" pitchFamily="34" charset="0"/>
                </a:rPr>
                <a:t>AMC diversification</a:t>
              </a:r>
              <a:endParaRPr lang="en-US" sz="900" dirty="0">
                <a:latin typeface="Calibri" panose="020F0502020204030204" pitchFamily="34" charset="0"/>
              </a:endParaRPr>
            </a:p>
          </p:txBody>
        </p:sp>
      </p:grpSp>
      <p:grpSp>
        <p:nvGrpSpPr>
          <p:cNvPr id="21" name="Group 20"/>
          <p:cNvGrpSpPr/>
          <p:nvPr/>
        </p:nvGrpSpPr>
        <p:grpSpPr>
          <a:xfrm>
            <a:off x="6487677" y="3030573"/>
            <a:ext cx="1911386" cy="760095"/>
            <a:chOff x="7980414" y="2977747"/>
            <a:chExt cx="2548514" cy="1013460"/>
          </a:xfrm>
          <a:solidFill>
            <a:schemeClr val="accent1">
              <a:lumMod val="75000"/>
            </a:schemeClr>
          </a:solidFill>
        </p:grpSpPr>
        <p:sp>
          <p:nvSpPr>
            <p:cNvPr id="22" name="Rectangle: Rounded Corners 21"/>
            <p:cNvSpPr/>
            <p:nvPr/>
          </p:nvSpPr>
          <p:spPr>
            <a:xfrm>
              <a:off x="7980414" y="2977747"/>
              <a:ext cx="2548514" cy="1013460"/>
            </a:xfrm>
            <a:prstGeom prst="roundRect">
              <a:avLst>
                <a:gd name="adj" fmla="val 1000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IN">
                <a:solidFill>
                  <a:schemeClr val="bg1"/>
                </a:solidFill>
              </a:endParaRPr>
            </a:p>
          </p:txBody>
        </p:sp>
        <p:sp>
          <p:nvSpPr>
            <p:cNvPr id="23" name="Rectangle: Rounded Corners 16"/>
            <p:cNvSpPr txBox="1"/>
            <p:nvPr/>
          </p:nvSpPr>
          <p:spPr>
            <a:xfrm>
              <a:off x="8010097" y="3007430"/>
              <a:ext cx="2489148" cy="95409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5718" tIns="17145" rIns="25718" bIns="17145" numCol="1" spcCol="1270" anchor="ctr" anchorCtr="0">
              <a:noAutofit/>
            </a:bodyPr>
            <a:lstStyle/>
            <a:p>
              <a:pPr algn="ctr" defTabSz="600075">
                <a:lnSpc>
                  <a:spcPct val="90000"/>
                </a:lnSpc>
                <a:spcAft>
                  <a:spcPct val="35000"/>
                </a:spcAft>
              </a:pPr>
              <a:r>
                <a:rPr lang="en-US" sz="1350" dirty="0">
                  <a:solidFill>
                    <a:schemeClr val="bg1"/>
                  </a:solidFill>
                </a:rPr>
                <a:t>CA Model Portfolio</a:t>
              </a:r>
              <a:endParaRPr lang="en-US" sz="1350" dirty="0">
                <a:solidFill>
                  <a:schemeClr val="bg1"/>
                </a:solidFill>
              </a:endParaRPr>
            </a:p>
          </p:txBody>
        </p:sp>
      </p:grpSp>
    </p:spTree>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41320" y="136042"/>
            <a:ext cx="6946132" cy="461665"/>
          </a:xfrm>
          <a:prstGeom prst="rect">
            <a:avLst/>
          </a:prstGeom>
          <a:noFill/>
        </p:spPr>
        <p:txBody>
          <a:bodyPr wrap="none" rtlCol="0">
            <a:spAutoFit/>
          </a:bodyPr>
          <a:lstStyle/>
          <a:p>
            <a:r>
              <a:rPr lang="en-US" sz="2400" dirty="0">
                <a:solidFill>
                  <a:srgbClr val="084795"/>
                </a:solidFill>
                <a:latin typeface="Roboto" panose="02000000000000000000" pitchFamily="2" charset="0"/>
                <a:ea typeface="Roboto" panose="02000000000000000000" pitchFamily="2" charset="0"/>
                <a:cs typeface="Roboto" panose="02000000000000000000" pitchFamily="2" charset="0"/>
              </a:rPr>
              <a:t>CA Equity Model Portfolio Construction Approach</a:t>
            </a:r>
            <a:endParaRPr lang="en-US" sz="2400" dirty="0">
              <a:solidFill>
                <a:srgbClr val="084795"/>
              </a:solidFill>
              <a:latin typeface="Roboto" panose="02000000000000000000" pitchFamily="2" charset="0"/>
              <a:ea typeface="Roboto" panose="02000000000000000000" pitchFamily="2" charset="0"/>
              <a:cs typeface="Roboto" panose="02000000000000000000" pitchFamily="2" charset="0"/>
            </a:endParaRPr>
          </a:p>
        </p:txBody>
      </p:sp>
      <p:graphicFrame>
        <p:nvGraphicFramePr>
          <p:cNvPr id="3" name="Table 2"/>
          <p:cNvGraphicFramePr>
            <a:graphicFrameLocks noGrp="1"/>
          </p:cNvGraphicFramePr>
          <p:nvPr/>
        </p:nvGraphicFramePr>
        <p:xfrm>
          <a:off x="669005" y="2640623"/>
          <a:ext cx="3307515" cy="2121575"/>
        </p:xfrm>
        <a:graphic>
          <a:graphicData uri="http://schemas.openxmlformats.org/drawingml/2006/table">
            <a:tbl>
              <a:tblPr firstRow="1" bandRow="1">
                <a:tableStyleId>{5C22544A-7EE6-4342-B048-85BDC9FD1C3A}</a:tableStyleId>
              </a:tblPr>
              <a:tblGrid>
                <a:gridCol w="770683"/>
                <a:gridCol w="2536832"/>
              </a:tblGrid>
              <a:tr h="228308">
                <a:tc>
                  <a:txBody>
                    <a:bodyPr/>
                    <a:lstStyle/>
                    <a:p>
                      <a:pPr algn="ctr"/>
                      <a:r>
                        <a:rPr lang="en-IN" sz="900" b="0" dirty="0">
                          <a:solidFill>
                            <a:schemeClr val="bg1"/>
                          </a:solidFill>
                          <a:latin typeface="Calibri" panose="020F0502020204030204" pitchFamily="34" charset="0"/>
                        </a:rPr>
                        <a:t>Year</a:t>
                      </a:r>
                      <a:endParaRPr lang="en-IN" sz="900" b="0" dirty="0">
                        <a:solidFill>
                          <a:schemeClr val="bg1"/>
                        </a:solidFill>
                        <a:latin typeface="Calibri" panose="020F0502020204030204" pitchFamily="34" charset="0"/>
                      </a:endParaRPr>
                    </a:p>
                  </a:txBody>
                  <a:tcPr marL="68580" marR="68580" marT="34307" marB="34307"/>
                </a:tc>
                <a:tc>
                  <a:txBody>
                    <a:bodyPr/>
                    <a:lstStyle/>
                    <a:p>
                      <a:pPr algn="l"/>
                      <a:r>
                        <a:rPr lang="en-IN" sz="900" b="0" dirty="0">
                          <a:solidFill>
                            <a:schemeClr val="bg1"/>
                          </a:solidFill>
                          <a:latin typeface="Calibri" panose="020F0502020204030204" pitchFamily="34" charset="0"/>
                        </a:rPr>
                        <a:t>Scheme</a:t>
                      </a:r>
                      <a:endParaRPr lang="en-IN" sz="900" b="0" dirty="0">
                        <a:solidFill>
                          <a:schemeClr val="bg1"/>
                        </a:solidFill>
                        <a:latin typeface="Calibri" panose="020F0502020204030204" pitchFamily="34" charset="0"/>
                      </a:endParaRPr>
                    </a:p>
                  </a:txBody>
                  <a:tcPr marL="68580" marR="68580" marT="34307" marB="34307"/>
                </a:tc>
              </a:tr>
              <a:tr h="202945">
                <a:tc>
                  <a:txBody>
                    <a:bodyPr/>
                    <a:lstStyle/>
                    <a:p>
                      <a:pPr algn="ctr"/>
                      <a:r>
                        <a:rPr lang="en-IN" sz="800" dirty="0">
                          <a:latin typeface="Calibri" panose="020F0502020204030204" pitchFamily="34" charset="0"/>
                        </a:rPr>
                        <a:t>2019</a:t>
                      </a:r>
                      <a:endParaRPr lang="en-IN" sz="800" dirty="0">
                        <a:latin typeface="Calibri" panose="020F0502020204030204" pitchFamily="34" charset="0"/>
                      </a:endParaRPr>
                    </a:p>
                  </a:txBody>
                  <a:tcPr marL="68580" marR="68580" marT="34307" marB="34307" anchor="ctr"/>
                </a:tc>
                <a:tc>
                  <a:txBody>
                    <a:bodyPr/>
                    <a:lstStyle/>
                    <a:p>
                      <a:pPr marL="0" algn="l" defTabSz="914400" rtl="0" eaLnBrk="1" latinLnBrk="0" hangingPunct="1"/>
                      <a:r>
                        <a:rPr lang="en-IN" sz="800" kern="1200" dirty="0">
                          <a:solidFill>
                            <a:schemeClr val="dk1"/>
                          </a:solidFill>
                          <a:latin typeface="Calibri" panose="020F0502020204030204" pitchFamily="34" charset="0"/>
                          <a:ea typeface="+mn-ea"/>
                          <a:cs typeface="+mn-cs"/>
                        </a:rPr>
                        <a:t>Reliance Large Cap, HDFC Small Cap</a:t>
                      </a:r>
                      <a:endParaRPr lang="en-IN" sz="800" kern="1200" dirty="0">
                        <a:solidFill>
                          <a:schemeClr val="dk1"/>
                        </a:solidFill>
                        <a:latin typeface="Calibri" panose="020F0502020204030204" pitchFamily="34" charset="0"/>
                        <a:ea typeface="+mn-ea"/>
                        <a:cs typeface="+mn-cs"/>
                      </a:endParaRPr>
                    </a:p>
                  </a:txBody>
                  <a:tcPr marL="68580" marR="68580" marT="34307" marB="34307" anchor="ctr"/>
                </a:tc>
              </a:tr>
              <a:tr h="329762">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IN" sz="800" kern="1200" dirty="0">
                          <a:solidFill>
                            <a:schemeClr val="dk1"/>
                          </a:solidFill>
                          <a:latin typeface="Calibri" panose="020F0502020204030204" pitchFamily="34" charset="0"/>
                          <a:ea typeface="+mn-ea"/>
                          <a:cs typeface="+mn-cs"/>
                        </a:rPr>
                        <a:t>2020 </a:t>
                      </a:r>
                      <a:endParaRPr lang="en-IN" sz="800" kern="1200" dirty="0">
                        <a:solidFill>
                          <a:schemeClr val="dk1"/>
                        </a:solidFill>
                        <a:latin typeface="Calibri" panose="020F0502020204030204" pitchFamily="34" charset="0"/>
                        <a:ea typeface="+mn-ea"/>
                        <a:cs typeface="+mn-cs"/>
                      </a:endParaRPr>
                    </a:p>
                  </a:txBody>
                  <a:tcPr marL="68580" marR="68580" marT="34307" marB="34307" anchor="ctr"/>
                </a:tc>
                <a:tc>
                  <a:txBody>
                    <a:bodyPr/>
                    <a:lstStyle/>
                    <a:p>
                      <a:pPr marL="0" algn="l" defTabSz="914400" rtl="0" eaLnBrk="1" latinLnBrk="0" hangingPunct="1"/>
                      <a:r>
                        <a:rPr lang="en-IN" sz="800" kern="1200" dirty="0">
                          <a:solidFill>
                            <a:schemeClr val="dk1"/>
                          </a:solidFill>
                          <a:latin typeface="Calibri" panose="020F0502020204030204" pitchFamily="34" charset="0"/>
                          <a:ea typeface="+mn-ea"/>
                          <a:cs typeface="+mn-cs"/>
                        </a:rPr>
                        <a:t>Marcellus, Axis Blue-chip, Axis Focused 25, and </a:t>
                      </a:r>
                      <a:endParaRPr lang="en-IN" sz="800" kern="1200" dirty="0">
                        <a:solidFill>
                          <a:schemeClr val="dk1"/>
                        </a:solidFill>
                        <a:latin typeface="Calibri" panose="020F0502020204030204" pitchFamily="34" charset="0"/>
                        <a:ea typeface="+mn-ea"/>
                        <a:cs typeface="+mn-cs"/>
                      </a:endParaRPr>
                    </a:p>
                    <a:p>
                      <a:pPr marL="0" algn="l" defTabSz="914400" rtl="0" eaLnBrk="1" latinLnBrk="0" hangingPunct="1"/>
                      <a:r>
                        <a:rPr lang="en-IN" sz="800" kern="1200" dirty="0">
                          <a:solidFill>
                            <a:schemeClr val="dk1"/>
                          </a:solidFill>
                          <a:latin typeface="Calibri" panose="020F0502020204030204" pitchFamily="34" charset="0"/>
                          <a:ea typeface="+mn-ea"/>
                          <a:cs typeface="+mn-cs"/>
                        </a:rPr>
                        <a:t>Axis small Cap etc</a:t>
                      </a:r>
                      <a:endParaRPr lang="en-IN" sz="800" kern="1200" dirty="0">
                        <a:solidFill>
                          <a:schemeClr val="dk1"/>
                        </a:solidFill>
                        <a:latin typeface="Calibri" panose="020F0502020204030204" pitchFamily="34" charset="0"/>
                        <a:ea typeface="+mn-ea"/>
                        <a:cs typeface="+mn-cs"/>
                      </a:endParaRPr>
                    </a:p>
                  </a:txBody>
                  <a:tcPr marL="68580" marR="68580" marT="34307" marB="34307" anchor="ctr"/>
                </a:tc>
              </a:tr>
              <a:tr h="202945">
                <a:tc>
                  <a:txBody>
                    <a:bodyPr/>
                    <a:lstStyle/>
                    <a:p>
                      <a:pPr marL="0" algn="ctr" defTabSz="914400" rtl="0" eaLnBrk="1" latinLnBrk="0" hangingPunct="1"/>
                      <a:r>
                        <a:rPr lang="en-IN" sz="800" kern="1200" dirty="0">
                          <a:solidFill>
                            <a:schemeClr val="dk1"/>
                          </a:solidFill>
                          <a:latin typeface="Calibri" panose="020F0502020204030204" pitchFamily="34" charset="0"/>
                          <a:ea typeface="+mn-ea"/>
                          <a:cs typeface="+mn-cs"/>
                        </a:rPr>
                        <a:t>2021</a:t>
                      </a:r>
                      <a:endParaRPr lang="en-IN" sz="800" kern="1200" dirty="0">
                        <a:solidFill>
                          <a:schemeClr val="dk1"/>
                        </a:solidFill>
                        <a:latin typeface="Calibri" panose="020F0502020204030204" pitchFamily="34" charset="0"/>
                        <a:ea typeface="+mn-ea"/>
                        <a:cs typeface="+mn-cs"/>
                      </a:endParaRPr>
                    </a:p>
                  </a:txBody>
                  <a:tcPr marL="68580" marR="68580" marT="34307" marB="34307" anchor="ct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800" kern="1200" dirty="0">
                          <a:solidFill>
                            <a:schemeClr val="dk1"/>
                          </a:solidFill>
                          <a:latin typeface="Calibri" panose="020F0502020204030204" pitchFamily="34" charset="0"/>
                          <a:ea typeface="+mn-ea"/>
                          <a:cs typeface="+mn-cs"/>
                        </a:rPr>
                        <a:t>Mirae Asset Large Cap, DSP Equity Opportunity, DSP Mid Cap</a:t>
                      </a:r>
                      <a:endParaRPr lang="en-IN" sz="800" kern="1200" dirty="0">
                        <a:solidFill>
                          <a:schemeClr val="dk1"/>
                        </a:solidFill>
                        <a:latin typeface="Calibri" panose="020F0502020204030204" pitchFamily="34" charset="0"/>
                        <a:ea typeface="+mn-ea"/>
                        <a:cs typeface="+mn-cs"/>
                      </a:endParaRPr>
                    </a:p>
                  </a:txBody>
                  <a:tcPr marL="68580" marR="68580" marT="34307" marB="34307" anchor="ctr"/>
                </a:tc>
              </a:tr>
              <a:tr h="297213">
                <a:tc>
                  <a:txBody>
                    <a:bodyPr/>
                    <a:lstStyle/>
                    <a:p>
                      <a:pPr marL="0" algn="ctr" defTabSz="914400" rtl="0" eaLnBrk="1" latinLnBrk="0" hangingPunct="1"/>
                      <a:r>
                        <a:rPr lang="en-IN" sz="800" kern="1200" dirty="0">
                          <a:solidFill>
                            <a:schemeClr val="dk1"/>
                          </a:solidFill>
                          <a:latin typeface="Calibri" panose="020F0502020204030204" pitchFamily="34" charset="0"/>
                          <a:ea typeface="+mn-ea"/>
                          <a:cs typeface="+mn-cs"/>
                        </a:rPr>
                        <a:t>2022</a:t>
                      </a:r>
                      <a:endParaRPr lang="en-IN" sz="800" kern="1200" dirty="0">
                        <a:solidFill>
                          <a:schemeClr val="dk1"/>
                        </a:solidFill>
                        <a:latin typeface="Calibri" panose="020F0502020204030204" pitchFamily="34" charset="0"/>
                        <a:ea typeface="+mn-ea"/>
                        <a:cs typeface="+mn-cs"/>
                      </a:endParaRPr>
                    </a:p>
                  </a:txBody>
                  <a:tcPr marL="68580" marR="68580" marT="34307" marB="34307" anchor="ctr"/>
                </a:tc>
                <a:tc>
                  <a:txBody>
                    <a:bodyPr/>
                    <a:lstStyle/>
                    <a:p>
                      <a:pPr marL="0" algn="l" defTabSz="914400" rtl="0" eaLnBrk="1" latinLnBrk="0" hangingPunct="1"/>
                      <a:r>
                        <a:rPr lang="en-IN" sz="800" kern="1200" dirty="0">
                          <a:solidFill>
                            <a:schemeClr val="dk1"/>
                          </a:solidFill>
                          <a:latin typeface="Calibri" panose="020F0502020204030204" pitchFamily="34" charset="0"/>
                          <a:ea typeface="+mn-ea"/>
                          <a:cs typeface="+mn-cs"/>
                        </a:rPr>
                        <a:t>Axis </a:t>
                      </a:r>
                      <a:r>
                        <a:rPr lang="en-IN" sz="800" kern="1200" dirty="0" err="1">
                          <a:solidFill>
                            <a:schemeClr val="dk1"/>
                          </a:solidFill>
                          <a:latin typeface="Calibri" panose="020F0502020204030204" pitchFamily="34" charset="0"/>
                          <a:ea typeface="+mn-ea"/>
                          <a:cs typeface="+mn-cs"/>
                        </a:rPr>
                        <a:t>Bluechip</a:t>
                      </a:r>
                      <a:r>
                        <a:rPr lang="en-IN" sz="800" kern="1200" dirty="0">
                          <a:solidFill>
                            <a:schemeClr val="dk1"/>
                          </a:solidFill>
                          <a:latin typeface="Calibri" panose="020F0502020204030204" pitchFamily="34" charset="0"/>
                          <a:ea typeface="+mn-ea"/>
                          <a:cs typeface="+mn-cs"/>
                        </a:rPr>
                        <a:t>, Mirae Asset Large Cap, Canara Robeco Emerging Equities</a:t>
                      </a:r>
                      <a:endParaRPr lang="en-IN" sz="800" kern="1200" dirty="0">
                        <a:solidFill>
                          <a:schemeClr val="dk1"/>
                        </a:solidFill>
                        <a:latin typeface="Calibri" panose="020F0502020204030204" pitchFamily="34" charset="0"/>
                        <a:ea typeface="+mn-ea"/>
                        <a:cs typeface="+mn-cs"/>
                      </a:endParaRPr>
                    </a:p>
                  </a:txBody>
                  <a:tcPr marL="68580" marR="68580" marT="34307" marB="34307" anchor="ctr"/>
                </a:tc>
              </a:tr>
              <a:tr h="329762">
                <a:tc>
                  <a:txBody>
                    <a:bodyPr/>
                    <a:lstStyle/>
                    <a:p>
                      <a:pPr marL="0" algn="ctr" defTabSz="914400" rtl="0" eaLnBrk="1" latinLnBrk="0" hangingPunct="1"/>
                      <a:r>
                        <a:rPr lang="en-IN" sz="800" kern="1200" dirty="0">
                          <a:solidFill>
                            <a:schemeClr val="dk1"/>
                          </a:solidFill>
                          <a:latin typeface="Calibri" panose="020F0502020204030204" pitchFamily="34" charset="0"/>
                          <a:ea typeface="+mn-ea"/>
                          <a:cs typeface="+mn-cs"/>
                        </a:rPr>
                        <a:t>2023</a:t>
                      </a:r>
                      <a:endParaRPr lang="en-IN" sz="800" kern="1200" dirty="0">
                        <a:solidFill>
                          <a:schemeClr val="dk1"/>
                        </a:solidFill>
                        <a:latin typeface="Calibri" panose="020F0502020204030204" pitchFamily="34" charset="0"/>
                        <a:ea typeface="+mn-ea"/>
                        <a:cs typeface="+mn-cs"/>
                      </a:endParaRPr>
                    </a:p>
                  </a:txBody>
                  <a:tcPr marL="68580" marR="68580" marT="34307" marB="34307" anchor="ctr"/>
                </a:tc>
                <a:tc>
                  <a:txBody>
                    <a:bodyPr/>
                    <a:lstStyle/>
                    <a:p>
                      <a:pPr marL="0" algn="l" defTabSz="914400" rtl="0" eaLnBrk="1" latinLnBrk="0" hangingPunct="1"/>
                      <a:r>
                        <a:rPr lang="en-IN" sz="800" kern="1200" dirty="0">
                          <a:solidFill>
                            <a:schemeClr val="dk1"/>
                          </a:solidFill>
                          <a:latin typeface="Calibri" panose="020F0502020204030204" pitchFamily="34" charset="0"/>
                          <a:ea typeface="+mn-ea"/>
                          <a:cs typeface="+mn-cs"/>
                        </a:rPr>
                        <a:t>Kotak Equity Opportunities, Canara Robeco Emerging Equities, Kotak Emerging Equity </a:t>
                      </a:r>
                      <a:endParaRPr lang="en-IN" sz="800" kern="1200" dirty="0">
                        <a:solidFill>
                          <a:schemeClr val="dk1"/>
                        </a:solidFill>
                        <a:latin typeface="Calibri" panose="020F0502020204030204" pitchFamily="34" charset="0"/>
                        <a:ea typeface="+mn-ea"/>
                        <a:cs typeface="+mn-cs"/>
                      </a:endParaRPr>
                    </a:p>
                  </a:txBody>
                  <a:tcPr marL="68580" marR="68580" marT="34307" marB="34307" anchor="ctr"/>
                </a:tc>
              </a:tr>
              <a:tr h="202945">
                <a:tc>
                  <a:txBody>
                    <a:bodyPr/>
                    <a:lstStyle/>
                    <a:p>
                      <a:pPr marL="0" algn="ctr" defTabSz="914400" rtl="0" eaLnBrk="1" latinLnBrk="0" hangingPunct="1"/>
                      <a:r>
                        <a:rPr lang="en-IN" sz="800" kern="1200" dirty="0">
                          <a:solidFill>
                            <a:schemeClr val="dk1"/>
                          </a:solidFill>
                          <a:latin typeface="Calibri" panose="020F0502020204030204" pitchFamily="34" charset="0"/>
                          <a:ea typeface="+mn-ea"/>
                          <a:cs typeface="+mn-cs"/>
                        </a:rPr>
                        <a:t>2024</a:t>
                      </a:r>
                      <a:endParaRPr lang="en-IN" sz="800" kern="1200" dirty="0">
                        <a:solidFill>
                          <a:schemeClr val="dk1"/>
                        </a:solidFill>
                        <a:latin typeface="Calibri" panose="020F0502020204030204" pitchFamily="34" charset="0"/>
                        <a:ea typeface="+mn-ea"/>
                        <a:cs typeface="+mn-cs"/>
                      </a:endParaRPr>
                    </a:p>
                  </a:txBody>
                  <a:tcPr marL="68580" marR="68580" marT="34307" marB="34307" anchor="ctr"/>
                </a:tc>
                <a:tc>
                  <a:txBody>
                    <a:bodyPr/>
                    <a:lstStyle/>
                    <a:p>
                      <a:pPr marL="0" algn="l" defTabSz="914400" rtl="0" eaLnBrk="1" latinLnBrk="0" hangingPunct="1"/>
                      <a:r>
                        <a:rPr lang="en-US" sz="800" kern="1200" dirty="0">
                          <a:solidFill>
                            <a:schemeClr val="dk1"/>
                          </a:solidFill>
                          <a:latin typeface="Calibri" panose="020F0502020204030204" pitchFamily="34" charset="0"/>
                          <a:ea typeface="+mn-ea"/>
                          <a:cs typeface="+mn-cs"/>
                        </a:rPr>
                        <a:t>Mirae Asset Large Cap, DSP Equity Opportunity Fund</a:t>
                      </a:r>
                      <a:endParaRPr lang="en-IN" sz="800" kern="1200" dirty="0">
                        <a:solidFill>
                          <a:schemeClr val="dk1"/>
                        </a:solidFill>
                        <a:latin typeface="Calibri" panose="020F0502020204030204" pitchFamily="34" charset="0"/>
                        <a:ea typeface="+mn-ea"/>
                        <a:cs typeface="+mn-cs"/>
                      </a:endParaRPr>
                    </a:p>
                  </a:txBody>
                  <a:tcPr marL="68580" marR="68580" marT="34307" marB="34307" anchor="ctr"/>
                </a:tc>
              </a:tr>
              <a:tr h="202945">
                <a:tc>
                  <a:txBody>
                    <a:bodyPr/>
                    <a:lstStyle/>
                    <a:p>
                      <a:pPr marL="0" algn="ctr" defTabSz="914400" rtl="0" eaLnBrk="1" latinLnBrk="0" hangingPunct="1"/>
                      <a:r>
                        <a:rPr lang="en-IN" sz="800" kern="1200" dirty="0">
                          <a:solidFill>
                            <a:schemeClr val="dk1"/>
                          </a:solidFill>
                          <a:latin typeface="Calibri" panose="020F0502020204030204" pitchFamily="34" charset="0"/>
                          <a:ea typeface="+mn-ea"/>
                          <a:cs typeface="+mn-cs"/>
                        </a:rPr>
                        <a:t>2025</a:t>
                      </a:r>
                      <a:endParaRPr lang="en-IN" sz="800" kern="1200" dirty="0">
                        <a:solidFill>
                          <a:schemeClr val="dk1"/>
                        </a:solidFill>
                        <a:latin typeface="Calibri" panose="020F0502020204030204" pitchFamily="34" charset="0"/>
                        <a:ea typeface="+mn-ea"/>
                        <a:cs typeface="+mn-cs"/>
                      </a:endParaRPr>
                    </a:p>
                  </a:txBody>
                  <a:tcPr marL="68580" marR="68580" marT="34307" marB="34307" anchor="ctr"/>
                </a:tc>
                <a:tc>
                  <a:txBody>
                    <a:bodyPr/>
                    <a:lstStyle/>
                    <a:p>
                      <a:pPr marL="0" algn="l" defTabSz="914400" rtl="0" eaLnBrk="1" latinLnBrk="0" hangingPunct="1"/>
                      <a:r>
                        <a:rPr lang="en-IN" sz="800" kern="1200" dirty="0">
                          <a:solidFill>
                            <a:schemeClr val="dk1"/>
                          </a:solidFill>
                          <a:latin typeface="Calibri" panose="020F0502020204030204" pitchFamily="34" charset="0"/>
                          <a:ea typeface="+mn-ea"/>
                          <a:cs typeface="+mn-cs"/>
                        </a:rPr>
                        <a:t>Kotak </a:t>
                      </a:r>
                      <a:r>
                        <a:rPr lang="en-IN" sz="800" kern="1200" dirty="0" err="1">
                          <a:solidFill>
                            <a:schemeClr val="dk1"/>
                          </a:solidFill>
                          <a:latin typeface="Calibri" panose="020F0502020204030204" pitchFamily="34" charset="0"/>
                          <a:ea typeface="+mn-ea"/>
                          <a:cs typeface="+mn-cs"/>
                        </a:rPr>
                        <a:t>Bluechip</a:t>
                      </a:r>
                      <a:r>
                        <a:rPr lang="en-IN" sz="800" kern="1200" dirty="0">
                          <a:solidFill>
                            <a:schemeClr val="dk1"/>
                          </a:solidFill>
                          <a:latin typeface="Calibri" panose="020F0502020204030204" pitchFamily="34" charset="0"/>
                          <a:ea typeface="+mn-ea"/>
                          <a:cs typeface="+mn-cs"/>
                        </a:rPr>
                        <a:t> Fund, Canara Robeco Emerging Equities</a:t>
                      </a:r>
                      <a:endParaRPr lang="en-IN" sz="800" kern="1200" dirty="0">
                        <a:solidFill>
                          <a:schemeClr val="dk1"/>
                        </a:solidFill>
                        <a:latin typeface="Calibri" panose="020F0502020204030204" pitchFamily="34" charset="0"/>
                        <a:ea typeface="+mn-ea"/>
                        <a:cs typeface="+mn-cs"/>
                      </a:endParaRPr>
                    </a:p>
                  </a:txBody>
                  <a:tcPr marL="68580" marR="68580" marT="34307" marB="34307" anchor="ctr"/>
                </a:tc>
              </a:tr>
            </a:tbl>
          </a:graphicData>
        </a:graphic>
      </p:graphicFrame>
      <p:graphicFrame>
        <p:nvGraphicFramePr>
          <p:cNvPr id="4" name="Table 3"/>
          <p:cNvGraphicFramePr>
            <a:graphicFrameLocks noGrp="1"/>
          </p:cNvGraphicFramePr>
          <p:nvPr/>
        </p:nvGraphicFramePr>
        <p:xfrm>
          <a:off x="5201369" y="2615453"/>
          <a:ext cx="3263555" cy="1943103"/>
        </p:xfrm>
        <a:graphic>
          <a:graphicData uri="http://schemas.openxmlformats.org/drawingml/2006/table">
            <a:tbl>
              <a:tblPr firstRow="1" bandRow="1">
                <a:tableStyleId>{5C22544A-7EE6-4342-B048-85BDC9FD1C3A}</a:tableStyleId>
              </a:tblPr>
              <a:tblGrid>
                <a:gridCol w="1126360"/>
                <a:gridCol w="2137195"/>
              </a:tblGrid>
              <a:tr h="205286">
                <a:tc>
                  <a:txBody>
                    <a:bodyPr/>
                    <a:lstStyle/>
                    <a:p>
                      <a:pPr algn="ctr"/>
                      <a:r>
                        <a:rPr lang="en-IN" sz="800" b="0" dirty="0">
                          <a:solidFill>
                            <a:schemeClr val="bg1"/>
                          </a:solidFill>
                          <a:latin typeface="Calibri" panose="020F0502020204030204" pitchFamily="34" charset="0"/>
                        </a:rPr>
                        <a:t>Segment</a:t>
                      </a:r>
                      <a:endParaRPr lang="en-IN" sz="800" b="0" dirty="0">
                        <a:solidFill>
                          <a:schemeClr val="bg1"/>
                        </a:solidFill>
                        <a:latin typeface="Calibri" panose="020F0502020204030204" pitchFamily="34" charset="0"/>
                      </a:endParaRPr>
                    </a:p>
                  </a:txBody>
                  <a:tcPr marL="68580" marR="68580" marT="34298" marB="34298"/>
                </a:tc>
                <a:tc>
                  <a:txBody>
                    <a:bodyPr/>
                    <a:lstStyle/>
                    <a:p>
                      <a:pPr algn="ctr"/>
                      <a:r>
                        <a:rPr lang="en-IN" sz="800" b="0" dirty="0">
                          <a:solidFill>
                            <a:schemeClr val="bg1"/>
                          </a:solidFill>
                          <a:latin typeface="Calibri" panose="020F0502020204030204" pitchFamily="34" charset="0"/>
                        </a:rPr>
                        <a:t>Process</a:t>
                      </a:r>
                      <a:endParaRPr lang="en-IN" sz="800" b="0" dirty="0">
                        <a:solidFill>
                          <a:schemeClr val="bg1"/>
                        </a:solidFill>
                        <a:latin typeface="Calibri" panose="020F0502020204030204" pitchFamily="34" charset="0"/>
                      </a:endParaRPr>
                    </a:p>
                  </a:txBody>
                  <a:tcPr marL="68580" marR="68580" marT="34298" marB="34298"/>
                </a:tc>
              </a:tr>
              <a:tr h="208729">
                <a:tc>
                  <a:txBody>
                    <a:bodyPr/>
                    <a:lstStyle/>
                    <a:p>
                      <a:r>
                        <a:rPr lang="en-IN" sz="800" b="1" dirty="0">
                          <a:latin typeface="Calibri" panose="020F0502020204030204" pitchFamily="34" charset="0"/>
                        </a:rPr>
                        <a:t>Asset</a:t>
                      </a:r>
                      <a:r>
                        <a:rPr lang="en-IN" sz="800" b="1" baseline="0" dirty="0">
                          <a:latin typeface="Calibri" panose="020F0502020204030204" pitchFamily="34" charset="0"/>
                        </a:rPr>
                        <a:t> Allocation</a:t>
                      </a:r>
                      <a:endParaRPr lang="en-IN" sz="800" b="1" dirty="0">
                        <a:latin typeface="Calibri" panose="020F0502020204030204" pitchFamily="34" charset="0"/>
                      </a:endParaRPr>
                    </a:p>
                  </a:txBody>
                  <a:tcPr marL="68580" marR="68580" marT="34298" marB="34298" anchor="ctr"/>
                </a:tc>
                <a:tc>
                  <a:txBody>
                    <a:bodyPr/>
                    <a:lstStyle/>
                    <a:p>
                      <a:r>
                        <a:rPr lang="en-IN" sz="800" dirty="0">
                          <a:latin typeface="Calibri" panose="020F0502020204030204" pitchFamily="34" charset="0"/>
                        </a:rPr>
                        <a:t>Strategic</a:t>
                      </a:r>
                      <a:r>
                        <a:rPr lang="en-IN" sz="800" baseline="0" dirty="0">
                          <a:latin typeface="Calibri" panose="020F0502020204030204" pitchFamily="34" charset="0"/>
                        </a:rPr>
                        <a:t> Allocation based on IPS &amp; CME</a:t>
                      </a:r>
                      <a:endParaRPr lang="en-IN" sz="800" dirty="0">
                        <a:latin typeface="Calibri" panose="020F0502020204030204" pitchFamily="34" charset="0"/>
                      </a:endParaRPr>
                    </a:p>
                  </a:txBody>
                  <a:tcPr marL="68580" marR="68580" marT="34298" marB="34298" anchor="ctr"/>
                </a:tc>
              </a:tr>
              <a:tr h="253511">
                <a:tc>
                  <a:txBody>
                    <a:bodyPr/>
                    <a:lstStyle/>
                    <a:p>
                      <a:r>
                        <a:rPr lang="en-IN" sz="800" b="1" dirty="0">
                          <a:latin typeface="Calibri" panose="020F0502020204030204" pitchFamily="34" charset="0"/>
                        </a:rPr>
                        <a:t>Tactical</a:t>
                      </a:r>
                      <a:r>
                        <a:rPr lang="en-IN" sz="800" b="1" baseline="0" dirty="0">
                          <a:latin typeface="Calibri" panose="020F0502020204030204" pitchFamily="34" charset="0"/>
                        </a:rPr>
                        <a:t> Allocation</a:t>
                      </a:r>
                      <a:endParaRPr lang="en-IN" sz="800" b="1" dirty="0">
                        <a:latin typeface="Calibri" panose="020F0502020204030204" pitchFamily="34" charset="0"/>
                      </a:endParaRPr>
                    </a:p>
                  </a:txBody>
                  <a:tcPr marL="68580" marR="68580" marT="34298" marB="34298" anchor="ctr"/>
                </a:tc>
                <a:tc>
                  <a:txBody>
                    <a:bodyPr/>
                    <a:lstStyle/>
                    <a:p>
                      <a:r>
                        <a:rPr lang="en-IN" sz="800" baseline="0" dirty="0">
                          <a:latin typeface="Calibri" panose="020F0502020204030204" pitchFamily="34" charset="0"/>
                        </a:rPr>
                        <a:t>CA Grid Assessment &amp; Valuation Models</a:t>
                      </a:r>
                      <a:endParaRPr lang="en-IN" sz="800" dirty="0">
                        <a:latin typeface="Calibri" panose="020F0502020204030204" pitchFamily="34" charset="0"/>
                      </a:endParaRPr>
                    </a:p>
                  </a:txBody>
                  <a:tcPr marL="68580" marR="68580" marT="34298" marB="34298" anchor="ctr"/>
                </a:tc>
              </a:tr>
              <a:tr h="253511">
                <a:tc>
                  <a:txBody>
                    <a:bodyPr/>
                    <a:lstStyle/>
                    <a:p>
                      <a:r>
                        <a:rPr lang="en-IN" sz="800" b="1" dirty="0">
                          <a:latin typeface="Calibri" panose="020F0502020204030204" pitchFamily="34" charset="0"/>
                        </a:rPr>
                        <a:t>Category</a:t>
                      </a:r>
                      <a:r>
                        <a:rPr lang="en-IN" sz="800" b="1" baseline="0" dirty="0">
                          <a:latin typeface="Calibri" panose="020F0502020204030204" pitchFamily="34" charset="0"/>
                        </a:rPr>
                        <a:t> Allocation</a:t>
                      </a:r>
                      <a:endParaRPr lang="en-IN" sz="800" b="1" dirty="0">
                        <a:latin typeface="Calibri" panose="020F0502020204030204" pitchFamily="34" charset="0"/>
                      </a:endParaRPr>
                    </a:p>
                  </a:txBody>
                  <a:tcPr marL="68580" marR="68580" marT="34298" marB="34298" anchor="ctr"/>
                </a:tc>
                <a:tc>
                  <a:txBody>
                    <a:bodyPr/>
                    <a:lstStyle/>
                    <a:p>
                      <a:r>
                        <a:rPr lang="en-IN" sz="800" dirty="0">
                          <a:latin typeface="Calibri" panose="020F0502020204030204" pitchFamily="34" charset="0"/>
                        </a:rPr>
                        <a:t>Relative</a:t>
                      </a:r>
                      <a:r>
                        <a:rPr lang="en-IN" sz="800" baseline="0" dirty="0">
                          <a:latin typeface="Calibri" panose="020F0502020204030204" pitchFamily="34" charset="0"/>
                        </a:rPr>
                        <a:t> Valuation/ Risk-Adjusted Performance</a:t>
                      </a:r>
                      <a:r>
                        <a:rPr lang="en-IN" sz="800" dirty="0">
                          <a:latin typeface="Calibri" panose="020F0502020204030204" pitchFamily="34" charset="0"/>
                        </a:rPr>
                        <a:t> </a:t>
                      </a:r>
                      <a:endParaRPr lang="en-IN" sz="800" dirty="0">
                        <a:latin typeface="Calibri" panose="020F0502020204030204" pitchFamily="34" charset="0"/>
                      </a:endParaRPr>
                    </a:p>
                  </a:txBody>
                  <a:tcPr marL="68580" marR="68580" marT="34298" marB="34298" anchor="ctr"/>
                </a:tc>
              </a:tr>
              <a:tr h="333578">
                <a:tc>
                  <a:txBody>
                    <a:bodyPr/>
                    <a:lstStyle/>
                    <a:p>
                      <a:r>
                        <a:rPr lang="en-IN" sz="800" b="1" dirty="0">
                          <a:latin typeface="Calibri" panose="020F0502020204030204" pitchFamily="34" charset="0"/>
                        </a:rPr>
                        <a:t>Vehicle Allocation</a:t>
                      </a:r>
                      <a:r>
                        <a:rPr lang="en-IN" sz="800" b="1" baseline="0" dirty="0">
                          <a:latin typeface="Calibri" panose="020F0502020204030204" pitchFamily="34" charset="0"/>
                        </a:rPr>
                        <a:t> </a:t>
                      </a:r>
                      <a:endParaRPr lang="en-IN" sz="800" b="1" dirty="0">
                        <a:latin typeface="Calibri" panose="020F0502020204030204" pitchFamily="34" charset="0"/>
                      </a:endParaRPr>
                    </a:p>
                  </a:txBody>
                  <a:tcPr marL="68580" marR="68580" marT="34298" marB="34298" anchor="ctr"/>
                </a:tc>
                <a:tc>
                  <a:txBody>
                    <a:bodyPr/>
                    <a:lstStyle/>
                    <a:p>
                      <a:r>
                        <a:rPr lang="en-IN" sz="800" dirty="0">
                          <a:latin typeface="Calibri" panose="020F0502020204030204" pitchFamily="34" charset="0"/>
                        </a:rPr>
                        <a:t>Diversification</a:t>
                      </a:r>
                      <a:r>
                        <a:rPr lang="en-IN" sz="800" baseline="0" dirty="0">
                          <a:latin typeface="Calibri" panose="020F0502020204030204" pitchFamily="34" charset="0"/>
                        </a:rPr>
                        <a:t> Vs Concentration/ Benchmark Hugging Vs Absolute return</a:t>
                      </a:r>
                      <a:endParaRPr lang="en-IN" sz="800" dirty="0">
                        <a:latin typeface="Calibri" panose="020F0502020204030204" pitchFamily="34" charset="0"/>
                      </a:endParaRPr>
                    </a:p>
                  </a:txBody>
                  <a:tcPr marL="68580" marR="68580" marT="34298" marB="34298" anchor="ctr"/>
                </a:tc>
              </a:tr>
              <a:tr h="333578">
                <a:tc rowSpan="2">
                  <a:txBody>
                    <a:bodyPr/>
                    <a:lstStyle/>
                    <a:p>
                      <a:r>
                        <a:rPr lang="en-IN" sz="800" b="1" dirty="0">
                          <a:latin typeface="Calibri" panose="020F0502020204030204" pitchFamily="34" charset="0"/>
                        </a:rPr>
                        <a:t>Manager</a:t>
                      </a:r>
                      <a:r>
                        <a:rPr lang="en-IN" sz="800" b="1" baseline="0" dirty="0">
                          <a:latin typeface="Calibri" panose="020F0502020204030204" pitchFamily="34" charset="0"/>
                        </a:rPr>
                        <a:t> Selection</a:t>
                      </a:r>
                      <a:endParaRPr lang="en-IN" sz="800" b="1" dirty="0">
                        <a:latin typeface="Calibri" panose="020F0502020204030204" pitchFamily="34" charset="0"/>
                      </a:endParaRPr>
                    </a:p>
                  </a:txBody>
                  <a:tcPr marL="68580" marR="68580" marT="34298" marB="34298" anchor="ctr"/>
                </a:tc>
                <a:tc>
                  <a:txBody>
                    <a:bodyPr/>
                    <a:lstStyle/>
                    <a:p>
                      <a:r>
                        <a:rPr lang="en-IN" sz="800" dirty="0">
                          <a:latin typeface="Calibri" panose="020F0502020204030204" pitchFamily="34" charset="0"/>
                        </a:rPr>
                        <a:t>Quantitative</a:t>
                      </a:r>
                      <a:r>
                        <a:rPr lang="en-IN" sz="800" baseline="0" dirty="0">
                          <a:latin typeface="Calibri" panose="020F0502020204030204" pitchFamily="34" charset="0"/>
                        </a:rPr>
                        <a:t> Analysis: Weed out Q3/Q4 funds: Can take contra call</a:t>
                      </a:r>
                      <a:endParaRPr lang="en-IN" sz="800" dirty="0">
                        <a:latin typeface="Calibri" panose="020F0502020204030204" pitchFamily="34" charset="0"/>
                      </a:endParaRPr>
                    </a:p>
                  </a:txBody>
                  <a:tcPr marL="68580" marR="68580" marT="34298" marB="34298" anchor="ctr"/>
                </a:tc>
              </a:tr>
              <a:tr h="354910">
                <a:tc vMerge="1">
                  <a:tcPr marT="45732" marB="45732"/>
                </a:tc>
                <a:tc>
                  <a:txBody>
                    <a:bodyPr/>
                    <a:lstStyle/>
                    <a:p>
                      <a:r>
                        <a:rPr lang="en-IN" sz="800" dirty="0">
                          <a:latin typeface="Calibri" panose="020F0502020204030204" pitchFamily="34" charset="0"/>
                        </a:rPr>
                        <a:t>Qualitative Analysis: Underlying</a:t>
                      </a:r>
                      <a:r>
                        <a:rPr lang="en-IN" sz="800" baseline="0" dirty="0">
                          <a:latin typeface="Calibri" panose="020F0502020204030204" pitchFamily="34" charset="0"/>
                        </a:rPr>
                        <a:t> Stock Portfolio and Portfolio Construction Approach</a:t>
                      </a:r>
                      <a:endParaRPr lang="en-IN" sz="800" dirty="0">
                        <a:latin typeface="Calibri" panose="020F0502020204030204" pitchFamily="34" charset="0"/>
                      </a:endParaRPr>
                    </a:p>
                  </a:txBody>
                  <a:tcPr marL="68580" marR="68580" marT="34298" marB="34298" anchor="ctr"/>
                </a:tc>
              </a:tr>
            </a:tbl>
          </a:graphicData>
        </a:graphic>
      </p:graphicFrame>
      <p:sp>
        <p:nvSpPr>
          <p:cNvPr id="5" name="Content Placeholder 2"/>
          <p:cNvSpPr txBox="1"/>
          <p:nvPr/>
        </p:nvSpPr>
        <p:spPr>
          <a:xfrm>
            <a:off x="423630" y="1093469"/>
            <a:ext cx="3753000" cy="3764281"/>
          </a:xfrm>
          <a:prstGeom prst="roundRect">
            <a:avLst/>
          </a:prstGeom>
          <a:ln>
            <a:solidFill>
              <a:schemeClr val="accent1"/>
            </a:solidFill>
          </a:ln>
        </p:spPr>
        <p:txBody>
          <a:bodyPr/>
          <a:lstStyle>
            <a:lvl1pPr marL="342900" indent="-342900" algn="l" rtl="0" eaLnBrk="0" fontAlgn="base" latinLnBrk="1" hangingPunct="0">
              <a:spcBef>
                <a:spcPct val="20000"/>
              </a:spcBef>
              <a:spcAft>
                <a:spcPct val="0"/>
              </a:spcAft>
              <a:buFont typeface="Arial" panose="020B0604020202020204" pitchFamily="34" charset="0"/>
              <a:buChar char="•"/>
              <a:defRPr sz="3200" kern="1200">
                <a:solidFill>
                  <a:schemeClr val="tx1"/>
                </a:solidFill>
                <a:latin typeface="+mn-lt"/>
                <a:ea typeface="+mn-ea"/>
                <a:cs typeface="Roboto Condensed Light"/>
              </a:defRPr>
            </a:lvl1pPr>
            <a:lvl2pPr marL="742950" indent="-285750" algn="l" rtl="0" eaLnBrk="0" fontAlgn="base" latinLnBrk="1" hangingPunct="0">
              <a:spcBef>
                <a:spcPct val="20000"/>
              </a:spcBef>
              <a:spcAft>
                <a:spcPct val="0"/>
              </a:spcAft>
              <a:buFont typeface="Arial" panose="020B0604020202020204" pitchFamily="34" charset="0"/>
              <a:buChar char="–"/>
              <a:defRPr sz="2800" kern="1200">
                <a:solidFill>
                  <a:schemeClr val="tx1"/>
                </a:solidFill>
                <a:latin typeface="+mn-lt"/>
                <a:ea typeface="+mn-ea"/>
                <a:cs typeface="Roboto Condensed Light"/>
              </a:defRPr>
            </a:lvl2pPr>
            <a:lvl3pPr marL="1143000" indent="-228600" algn="l" rtl="0" eaLnBrk="0" fontAlgn="base" latinLnBrk="1" hangingPunct="0">
              <a:spcBef>
                <a:spcPct val="20000"/>
              </a:spcBef>
              <a:spcAft>
                <a:spcPct val="0"/>
              </a:spcAft>
              <a:buFont typeface="Arial" panose="020B0604020202020204" pitchFamily="34" charset="0"/>
              <a:buChar char="•"/>
              <a:defRPr sz="2400" kern="1200">
                <a:solidFill>
                  <a:schemeClr val="tx1"/>
                </a:solidFill>
                <a:latin typeface="+mn-lt"/>
                <a:ea typeface="+mn-ea"/>
                <a:cs typeface="Roboto Condensed Light"/>
              </a:defRPr>
            </a:lvl3pPr>
            <a:lvl4pPr marL="1600200" indent="-228600" algn="l" rtl="0" eaLnBrk="0" fontAlgn="base" latinLnBrk="1" hangingPunct="0">
              <a:spcBef>
                <a:spcPct val="20000"/>
              </a:spcBef>
              <a:spcAft>
                <a:spcPct val="0"/>
              </a:spcAft>
              <a:buFont typeface="Arial" panose="020B0604020202020204" pitchFamily="34" charset="0"/>
              <a:buChar char="–"/>
              <a:defRPr sz="2000" kern="1200">
                <a:solidFill>
                  <a:schemeClr val="tx1"/>
                </a:solidFill>
                <a:latin typeface="+mn-lt"/>
                <a:ea typeface="+mn-ea"/>
                <a:cs typeface="Roboto Condensed Light"/>
              </a:defRPr>
            </a:lvl4pPr>
            <a:lvl5pPr marL="2057400" indent="-228600" algn="l" rtl="0" eaLnBrk="0" fontAlgn="base" latinLnBrk="1" hangingPunct="0">
              <a:spcBef>
                <a:spcPct val="20000"/>
              </a:spcBef>
              <a:spcAft>
                <a:spcPct val="0"/>
              </a:spcAft>
              <a:buFont typeface="Arial" panose="020B0604020202020204" pitchFamily="34" charset="0"/>
              <a:buChar char="»"/>
              <a:defRPr sz="2000" kern="1200">
                <a:solidFill>
                  <a:schemeClr val="tx1"/>
                </a:solidFill>
                <a:latin typeface="+mn-lt"/>
                <a:ea typeface="+mn-ea"/>
                <a:cs typeface="Roboto Condensed Light"/>
              </a:defRPr>
            </a:lvl5pPr>
            <a:lvl6pPr marL="25146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defRPr/>
            </a:pPr>
            <a:endParaRPr lang="en-IN" sz="825" dirty="0">
              <a:latin typeface="Calibri" panose="020F0502020204030204" pitchFamily="34" charset="0"/>
            </a:endParaRPr>
          </a:p>
          <a:p>
            <a:pPr>
              <a:spcBef>
                <a:spcPts val="225"/>
              </a:spcBef>
              <a:spcAft>
                <a:spcPts val="225"/>
              </a:spcAft>
              <a:defRPr/>
            </a:pPr>
            <a:r>
              <a:rPr lang="en-IN" sz="900" b="1" dirty="0">
                <a:latin typeface="Calibri" panose="020F0502020204030204" pitchFamily="34" charset="0"/>
              </a:rPr>
              <a:t>Risk Adjusted Performance: </a:t>
            </a:r>
            <a:r>
              <a:rPr lang="en-IN" sz="900" dirty="0">
                <a:latin typeface="Calibri" panose="020F0502020204030204" pitchFamily="34" charset="0"/>
              </a:rPr>
              <a:t>Sharpe, Alpha, Treynor, Beta, Upside/Downside Capture, Quartile Analysis, other ratios.</a:t>
            </a:r>
            <a:endParaRPr lang="en-IN" sz="900" dirty="0">
              <a:latin typeface="Calibri" panose="020F0502020204030204" pitchFamily="34" charset="0"/>
            </a:endParaRPr>
          </a:p>
          <a:p>
            <a:pPr>
              <a:spcBef>
                <a:spcPts val="225"/>
              </a:spcBef>
              <a:spcAft>
                <a:spcPts val="225"/>
              </a:spcAft>
              <a:defRPr/>
            </a:pPr>
            <a:r>
              <a:rPr lang="en-IN" sz="900" b="1" dirty="0">
                <a:latin typeface="Calibri" panose="020F0502020204030204" pitchFamily="34" charset="0"/>
              </a:rPr>
              <a:t>Ranking: </a:t>
            </a:r>
            <a:r>
              <a:rPr lang="en-IN" sz="900" dirty="0">
                <a:latin typeface="Calibri" panose="020F0502020204030204" pitchFamily="34" charset="0"/>
              </a:rPr>
              <a:t>Value Research, ICRA, CRISIL, CA Ranking.  Rolling returns &amp; Quartile analysis</a:t>
            </a:r>
            <a:endParaRPr lang="en-IN" sz="900" dirty="0">
              <a:latin typeface="Calibri" panose="020F0502020204030204" pitchFamily="34" charset="0"/>
            </a:endParaRPr>
          </a:p>
          <a:p>
            <a:pPr>
              <a:spcBef>
                <a:spcPts val="225"/>
              </a:spcBef>
              <a:spcAft>
                <a:spcPts val="225"/>
              </a:spcAft>
              <a:defRPr/>
            </a:pPr>
            <a:r>
              <a:rPr lang="en-IN" sz="900" b="1" dirty="0">
                <a:latin typeface="Calibri" panose="020F0502020204030204" pitchFamily="34" charset="0"/>
              </a:rPr>
              <a:t>Absolute Performance Ranking: </a:t>
            </a:r>
            <a:r>
              <a:rPr lang="en-IN" sz="900" dirty="0">
                <a:latin typeface="Calibri" panose="020F0502020204030204" pitchFamily="34" charset="0"/>
              </a:rPr>
              <a:t>AMCs, Institution</a:t>
            </a:r>
            <a:endParaRPr lang="en-IN" sz="900" dirty="0">
              <a:latin typeface="Calibri" panose="020F0502020204030204" pitchFamily="34" charset="0"/>
            </a:endParaRPr>
          </a:p>
          <a:p>
            <a:pPr>
              <a:spcBef>
                <a:spcPts val="225"/>
              </a:spcBef>
              <a:spcAft>
                <a:spcPts val="225"/>
              </a:spcAft>
              <a:defRPr/>
            </a:pPr>
            <a:r>
              <a:rPr lang="en-IN" sz="900" b="1" dirty="0">
                <a:latin typeface="Calibri" panose="020F0502020204030204" pitchFamily="34" charset="0"/>
              </a:rPr>
              <a:t>Top Performers: </a:t>
            </a:r>
            <a:r>
              <a:rPr lang="en-IN" sz="900" dirty="0">
                <a:latin typeface="Calibri" panose="020F0502020204030204" pitchFamily="34" charset="0"/>
              </a:rPr>
              <a:t>Value or Growth</a:t>
            </a:r>
            <a:endParaRPr lang="en-IN" sz="2700" dirty="0">
              <a:latin typeface="Calibri" panose="020F0502020204030204" pitchFamily="34" charset="0"/>
            </a:endParaRPr>
          </a:p>
        </p:txBody>
      </p:sp>
      <p:sp>
        <p:nvSpPr>
          <p:cNvPr id="6" name="Content Placeholder 2"/>
          <p:cNvSpPr txBox="1"/>
          <p:nvPr/>
        </p:nvSpPr>
        <p:spPr bwMode="auto">
          <a:xfrm>
            <a:off x="4941570" y="1093469"/>
            <a:ext cx="3753000" cy="3703321"/>
          </a:xfrm>
          <a:prstGeom prst="roundRect">
            <a:avLst/>
          </a:prstGeom>
          <a:ln>
            <a:solidFill>
              <a:schemeClr val="accent1"/>
            </a:solidFill>
          </a:ln>
        </p:spPr>
        <p:txBody>
          <a:bodyPr/>
          <a:lstStyle>
            <a:defPPr>
              <a:defRPr lang="en-US"/>
            </a:defPPr>
            <a:lvl1pPr marL="342900" indent="-342900" eaLnBrk="0" fontAlgn="base" latinLnBrk="1" hangingPunct="0">
              <a:spcBef>
                <a:spcPct val="20000"/>
              </a:spcBef>
              <a:spcAft>
                <a:spcPct val="0"/>
              </a:spcAft>
              <a:buFont typeface="Arial" panose="020B0604020202020204" pitchFamily="34" charset="0"/>
              <a:buChar char="•"/>
              <a:defRPr sz="1100">
                <a:latin typeface="Calibri" panose="020F0502020204030204" pitchFamily="34" charset="0"/>
                <a:cs typeface="Roboto Condensed Light"/>
              </a:defRPr>
            </a:lvl1pPr>
            <a:lvl2pPr marL="742950" indent="-285750" eaLnBrk="0" fontAlgn="base" latinLnBrk="1" hangingPunct="0">
              <a:spcBef>
                <a:spcPct val="20000"/>
              </a:spcBef>
              <a:spcAft>
                <a:spcPct val="0"/>
              </a:spcAft>
              <a:buFont typeface="Arial" panose="020B0604020202020204" pitchFamily="34" charset="0"/>
              <a:buChar char="–"/>
              <a:defRPr sz="2800">
                <a:cs typeface="Roboto Condensed Light"/>
              </a:defRPr>
            </a:lvl2pPr>
            <a:lvl3pPr marL="1143000" indent="-228600" eaLnBrk="0" fontAlgn="base" latinLnBrk="1" hangingPunct="0">
              <a:spcBef>
                <a:spcPct val="20000"/>
              </a:spcBef>
              <a:spcAft>
                <a:spcPct val="0"/>
              </a:spcAft>
              <a:buFont typeface="Arial" panose="020B0604020202020204" pitchFamily="34" charset="0"/>
              <a:buChar char="•"/>
              <a:defRPr sz="2400">
                <a:cs typeface="Roboto Condensed Light"/>
              </a:defRPr>
            </a:lvl3pPr>
            <a:lvl4pPr marL="1600200" indent="-228600" eaLnBrk="0" fontAlgn="base" latinLnBrk="1" hangingPunct="0">
              <a:spcBef>
                <a:spcPct val="20000"/>
              </a:spcBef>
              <a:spcAft>
                <a:spcPct val="0"/>
              </a:spcAft>
              <a:buFont typeface="Arial" panose="020B0604020202020204" pitchFamily="34" charset="0"/>
              <a:buChar char="–"/>
              <a:defRPr sz="2000">
                <a:cs typeface="Roboto Condensed Light"/>
              </a:defRPr>
            </a:lvl4pPr>
            <a:lvl5pPr marL="2057400" indent="-228600" eaLnBrk="0" fontAlgn="base" latinLnBrk="1" hangingPunct="0">
              <a:spcBef>
                <a:spcPct val="20000"/>
              </a:spcBef>
              <a:spcAft>
                <a:spcPct val="0"/>
              </a:spcAft>
              <a:buFont typeface="Arial" panose="020B0604020202020204" pitchFamily="34" charset="0"/>
              <a:buChar char="»"/>
              <a:defRPr sz="2000">
                <a:cs typeface="Roboto Condensed Light"/>
              </a:defRPr>
            </a:lvl5pPr>
            <a:lvl6pPr marL="2514600" indent="-228600" latinLnBrk="1">
              <a:spcBef>
                <a:spcPct val="20000"/>
              </a:spcBef>
              <a:buFont typeface="Arial" panose="020B0604020202020204" pitchFamily="34" charset="0"/>
              <a:buChar char="•"/>
              <a:defRPr sz="2000"/>
            </a:lvl6pPr>
            <a:lvl7pPr marL="2971800" indent="-228600" latinLnBrk="1">
              <a:spcBef>
                <a:spcPct val="20000"/>
              </a:spcBef>
              <a:buFont typeface="Arial" panose="020B0604020202020204" pitchFamily="34" charset="0"/>
              <a:buChar char="•"/>
              <a:defRPr sz="2000"/>
            </a:lvl7pPr>
            <a:lvl8pPr marL="3429000" indent="-228600" latinLnBrk="1">
              <a:spcBef>
                <a:spcPct val="20000"/>
              </a:spcBef>
              <a:buFont typeface="Arial" panose="020B0604020202020204" pitchFamily="34" charset="0"/>
              <a:buChar char="•"/>
              <a:defRPr sz="2000"/>
            </a:lvl8pPr>
            <a:lvl9pPr marL="3886200" indent="-228600" latinLnBrk="1">
              <a:spcBef>
                <a:spcPct val="20000"/>
              </a:spcBef>
              <a:buFont typeface="Arial" panose="020B0604020202020204" pitchFamily="34" charset="0"/>
              <a:buChar char="•"/>
              <a:defRPr sz="2000"/>
            </a:lvl9pPr>
          </a:lstStyle>
          <a:p>
            <a:endParaRPr lang="en-IN" sz="825" dirty="0"/>
          </a:p>
          <a:p>
            <a:pPr>
              <a:spcBef>
                <a:spcPts val="225"/>
              </a:spcBef>
              <a:spcAft>
                <a:spcPts val="225"/>
              </a:spcAft>
            </a:pPr>
            <a:r>
              <a:rPr lang="en-IN" sz="825" b="1" dirty="0"/>
              <a:t>Quant Model/Ranking: </a:t>
            </a:r>
            <a:r>
              <a:rPr lang="en-IN" sz="825" dirty="0"/>
              <a:t>Risk Adjusted Returns/Quartile </a:t>
            </a:r>
            <a:endParaRPr lang="en-IN" sz="825" dirty="0"/>
          </a:p>
          <a:p>
            <a:pPr>
              <a:spcBef>
                <a:spcPts val="225"/>
              </a:spcBef>
              <a:spcAft>
                <a:spcPts val="225"/>
              </a:spcAft>
            </a:pPr>
            <a:r>
              <a:rPr lang="en-IN" sz="825" b="1" dirty="0"/>
              <a:t>Qualitative Model: </a:t>
            </a:r>
            <a:r>
              <a:rPr lang="en-IN" sz="825" dirty="0"/>
              <a:t>Growth, Value, and GARP</a:t>
            </a:r>
            <a:endParaRPr lang="en-IN" sz="825" dirty="0"/>
          </a:p>
          <a:p>
            <a:pPr>
              <a:spcBef>
                <a:spcPts val="225"/>
              </a:spcBef>
              <a:spcAft>
                <a:spcPts val="225"/>
              </a:spcAft>
            </a:pPr>
            <a:r>
              <a:rPr lang="en-IN" sz="825" b="1" dirty="0"/>
              <a:t>Market Cycles: </a:t>
            </a:r>
            <a:r>
              <a:rPr lang="en-IN" sz="825" dirty="0"/>
              <a:t>Economic, Earnings Cycle, and Valuations</a:t>
            </a:r>
            <a:endParaRPr lang="en-IN" sz="825" dirty="0"/>
          </a:p>
          <a:p>
            <a:pPr>
              <a:spcBef>
                <a:spcPts val="225"/>
              </a:spcBef>
              <a:spcAft>
                <a:spcPts val="225"/>
              </a:spcAft>
            </a:pPr>
            <a:r>
              <a:rPr lang="en-IN" sz="825" b="1" dirty="0"/>
              <a:t>Market Stance: </a:t>
            </a:r>
            <a:r>
              <a:rPr lang="en-IN" sz="825" dirty="0"/>
              <a:t>Overweight, Underweight, and Neutral</a:t>
            </a:r>
            <a:endParaRPr lang="en-IN" sz="825" dirty="0"/>
          </a:p>
          <a:p>
            <a:pPr>
              <a:spcBef>
                <a:spcPts val="225"/>
              </a:spcBef>
              <a:spcAft>
                <a:spcPts val="225"/>
              </a:spcAft>
            </a:pPr>
            <a:r>
              <a:rPr lang="en-IN" sz="825" b="1" dirty="0"/>
              <a:t>Manager Selection: </a:t>
            </a:r>
            <a:r>
              <a:rPr lang="en-IN" sz="825" dirty="0"/>
              <a:t>Follow GARP and tactically adjust the portfolio basis next emerging cycle linked to equity market assessment</a:t>
            </a:r>
            <a:endParaRPr lang="en-IN" sz="825" dirty="0"/>
          </a:p>
        </p:txBody>
      </p:sp>
      <p:sp>
        <p:nvSpPr>
          <p:cNvPr id="8" name="TextBox 7"/>
          <p:cNvSpPr txBox="1"/>
          <p:nvPr/>
        </p:nvSpPr>
        <p:spPr>
          <a:xfrm>
            <a:off x="973455" y="958781"/>
            <a:ext cx="2783205" cy="306467"/>
          </a:xfrm>
          <a:prstGeom prst="roundRect">
            <a:avLst/>
          </a:prstGeom>
          <a:solidFill>
            <a:schemeClr val="accent1"/>
          </a:solidFill>
          <a:ln>
            <a:solidFill>
              <a:schemeClr val="accent1"/>
            </a:solidFill>
          </a:ln>
        </p:spPr>
        <p:txBody>
          <a:bodyPr wrap="square" anchor="ctr">
            <a:noAutofit/>
          </a:bodyPr>
          <a:lstStyle/>
          <a:p>
            <a:pPr algn="ctr" eaLnBrk="1" hangingPunct="1">
              <a:defRPr/>
            </a:pPr>
            <a:r>
              <a:rPr lang="en-IN" sz="1050" b="1" dirty="0">
                <a:solidFill>
                  <a:schemeClr val="bg1"/>
                </a:solidFill>
                <a:latin typeface="Roboto Medium" panose="02000000000000000000" pitchFamily="2" charset="0"/>
                <a:ea typeface="Roboto Medium" panose="02000000000000000000" pitchFamily="2" charset="0"/>
                <a:cs typeface="+mn-cs"/>
              </a:rPr>
              <a:t>Lagging Indicators</a:t>
            </a:r>
            <a:endParaRPr lang="en-IN" sz="1050" b="1" dirty="0">
              <a:solidFill>
                <a:schemeClr val="bg1"/>
              </a:solidFill>
              <a:latin typeface="Roboto Medium" panose="02000000000000000000" pitchFamily="2" charset="0"/>
              <a:ea typeface="Roboto Medium" panose="02000000000000000000" pitchFamily="2" charset="0"/>
              <a:cs typeface="+mn-cs"/>
            </a:endParaRPr>
          </a:p>
        </p:txBody>
      </p:sp>
      <p:sp>
        <p:nvSpPr>
          <p:cNvPr id="9" name="TextBox 8"/>
          <p:cNvSpPr txBox="1"/>
          <p:nvPr/>
        </p:nvSpPr>
        <p:spPr>
          <a:xfrm>
            <a:off x="5434965" y="901631"/>
            <a:ext cx="2783205" cy="306467"/>
          </a:xfrm>
          <a:prstGeom prst="roundRect">
            <a:avLst/>
          </a:prstGeom>
          <a:solidFill>
            <a:schemeClr val="accent1"/>
          </a:solidFill>
          <a:ln>
            <a:solidFill>
              <a:schemeClr val="accent1"/>
            </a:solidFill>
          </a:ln>
        </p:spPr>
        <p:txBody>
          <a:bodyPr wrap="square" anchor="ctr">
            <a:noAutofit/>
          </a:bodyPr>
          <a:lstStyle/>
          <a:p>
            <a:pPr algn="ctr" eaLnBrk="1" hangingPunct="1">
              <a:defRPr/>
            </a:pPr>
            <a:r>
              <a:rPr lang="en-IN" sz="1050" b="1" dirty="0">
                <a:solidFill>
                  <a:schemeClr val="bg1"/>
                </a:solidFill>
                <a:latin typeface="Roboto Medium" panose="02000000000000000000" pitchFamily="2" charset="0"/>
                <a:ea typeface="Roboto Medium" panose="02000000000000000000" pitchFamily="2" charset="0"/>
                <a:cs typeface="+mn-cs"/>
              </a:rPr>
              <a:t>Leading Indicators</a:t>
            </a:r>
            <a:endParaRPr lang="en-IN" sz="1050" b="1" dirty="0">
              <a:solidFill>
                <a:schemeClr val="bg1"/>
              </a:solidFill>
              <a:latin typeface="Roboto Medium" panose="02000000000000000000" pitchFamily="2" charset="0"/>
              <a:ea typeface="Roboto Medium" panose="02000000000000000000" pitchFamily="2" charset="0"/>
              <a:cs typeface="+mn-cs"/>
            </a:endParaRPr>
          </a:p>
        </p:txBody>
      </p:sp>
    </p:spTree>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500" dirty="0">
                <a:latin typeface="Calibri" panose="020F0502020204030204" pitchFamily="34" charset="0"/>
                <a:cs typeface="Calibri" panose="020F0502020204030204" pitchFamily="34" charset="0"/>
              </a:rPr>
              <a:t>Market Cap/Style Box (Indian Equity Managers)</a:t>
            </a:r>
            <a:endParaRPr lang="en-IN" sz="2500" dirty="0">
              <a:latin typeface="Calibri" panose="020F0502020204030204" pitchFamily="34" charset="0"/>
              <a:cs typeface="Calibri" panose="020F0502020204030204" pitchFamily="34" charset="0"/>
            </a:endParaRPr>
          </a:p>
        </p:txBody>
      </p:sp>
      <p:graphicFrame>
        <p:nvGraphicFramePr>
          <p:cNvPr id="5" name="Table 4"/>
          <p:cNvGraphicFramePr>
            <a:graphicFrameLocks noGrp="1"/>
          </p:cNvGraphicFramePr>
          <p:nvPr/>
        </p:nvGraphicFramePr>
        <p:xfrm>
          <a:off x="720725" y="915521"/>
          <a:ext cx="7848600" cy="2448339"/>
        </p:xfrm>
        <a:graphic>
          <a:graphicData uri="http://schemas.openxmlformats.org/drawingml/2006/table">
            <a:tbl>
              <a:tblPr/>
              <a:tblGrid>
                <a:gridCol w="1474945"/>
                <a:gridCol w="1872260"/>
                <a:gridCol w="2304320"/>
                <a:gridCol w="2197075"/>
              </a:tblGrid>
              <a:tr h="441849">
                <a:tc>
                  <a:txBody>
                    <a:bodyPr/>
                    <a:lstStyle/>
                    <a:p>
                      <a:pPr algn="ctr" fontAlgn="ctr"/>
                      <a:r>
                        <a:rPr lang="en-IN" sz="1000" b="1" i="0" u="none" strike="noStrike" dirty="0">
                          <a:solidFill>
                            <a:srgbClr val="000000"/>
                          </a:solidFill>
                          <a:effectLst/>
                          <a:latin typeface="Calibri" panose="020F0502020204030204" pitchFamily="34" charset="0"/>
                        </a:rPr>
                        <a:t>Market Cap/</a:t>
                      </a:r>
                      <a:endParaRPr lang="en-IN" sz="1000" b="1" i="0" u="none" strike="noStrike" dirty="0">
                        <a:solidFill>
                          <a:srgbClr val="000000"/>
                        </a:solidFill>
                        <a:effectLst/>
                        <a:latin typeface="Calibri" panose="020F0502020204030204" pitchFamily="34" charset="0"/>
                      </a:endParaRPr>
                    </a:p>
                    <a:p>
                      <a:pPr algn="ctr" fontAlgn="ctr"/>
                      <a:r>
                        <a:rPr lang="en-IN" sz="1000" b="1" i="0" u="none" strike="noStrike" dirty="0">
                          <a:solidFill>
                            <a:srgbClr val="000000"/>
                          </a:solidFill>
                          <a:effectLst/>
                          <a:latin typeface="Calibri" panose="020F0502020204030204" pitchFamily="34" charset="0"/>
                        </a:rPr>
                        <a:t>Portfolio Style</a:t>
                      </a:r>
                      <a:endParaRPr lang="en-IN" sz="10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000" b="1" i="0" u="none" strike="noStrike" dirty="0">
                          <a:solidFill>
                            <a:srgbClr val="000000"/>
                          </a:solidFill>
                          <a:effectLst/>
                          <a:latin typeface="Calibri" panose="020F0502020204030204" pitchFamily="34" charset="0"/>
                        </a:rPr>
                        <a:t>Large-Cap</a:t>
                      </a:r>
                      <a:endParaRPr lang="en-IN" sz="10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000" b="1" i="0" u="none" strike="noStrike" dirty="0">
                          <a:solidFill>
                            <a:srgbClr val="000000"/>
                          </a:solidFill>
                          <a:effectLst/>
                          <a:latin typeface="Calibri" panose="020F0502020204030204" pitchFamily="34" charset="0"/>
                        </a:rPr>
                        <a:t>Multi-Cap</a:t>
                      </a:r>
                      <a:endParaRPr lang="en-IN" sz="10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000" b="1" i="0" u="none" strike="noStrike" dirty="0">
                          <a:solidFill>
                            <a:srgbClr val="000000"/>
                          </a:solidFill>
                          <a:effectLst/>
                          <a:latin typeface="Calibri" panose="020F0502020204030204" pitchFamily="34" charset="0"/>
                        </a:rPr>
                        <a:t>Mid-Small Cap</a:t>
                      </a:r>
                      <a:endParaRPr lang="en-IN" sz="10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r>
              <a:tr h="655605">
                <a:tc>
                  <a:txBody>
                    <a:bodyPr/>
                    <a:lstStyle/>
                    <a:p>
                      <a:pPr algn="ctr" fontAlgn="ctr"/>
                      <a:r>
                        <a:rPr lang="en-IN" sz="1000" b="1" i="0" u="none" strike="noStrike" dirty="0">
                          <a:solidFill>
                            <a:srgbClr val="000000"/>
                          </a:solidFill>
                          <a:effectLst/>
                          <a:latin typeface="Calibri" panose="020F0502020204030204" pitchFamily="34" charset="0"/>
                        </a:rPr>
                        <a:t>Growth</a:t>
                      </a:r>
                      <a:endParaRPr lang="en-IN" sz="10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Calibri" panose="020F0502020204030204" pitchFamily="34" charset="0"/>
                        </a:rPr>
                        <a:t>Marcellus Consistent </a:t>
                      </a:r>
                      <a:endParaRPr lang="en-IN" sz="1000" b="0" i="0" u="none" strike="noStrike" dirty="0">
                        <a:solidFill>
                          <a:schemeClr val="tx1"/>
                        </a:solidFill>
                        <a:effectLst/>
                        <a:latin typeface="Calibri" panose="020F0502020204030204" pitchFamily="34" charset="0"/>
                      </a:endParaRPr>
                    </a:p>
                    <a:p>
                      <a:pPr algn="ctr" fontAlgn="ctr"/>
                      <a:r>
                        <a:rPr lang="en-IN" sz="1000" b="0" i="0" u="none" strike="noStrike" dirty="0">
                          <a:solidFill>
                            <a:schemeClr val="tx1"/>
                          </a:solidFill>
                          <a:effectLst/>
                          <a:latin typeface="Calibri" panose="020F0502020204030204" pitchFamily="34" charset="0"/>
                        </a:rPr>
                        <a:t>Compounder and </a:t>
                      </a:r>
                      <a:endParaRPr lang="en-IN" sz="1000" b="0" i="0" u="none" strike="noStrike" dirty="0">
                        <a:solidFill>
                          <a:schemeClr val="tx1"/>
                        </a:solidFill>
                        <a:effectLst/>
                        <a:latin typeface="Calibri" panose="020F0502020204030204" pitchFamily="34" charset="0"/>
                      </a:endParaRPr>
                    </a:p>
                    <a:p>
                      <a:pPr algn="ctr" fontAlgn="ctr"/>
                      <a:r>
                        <a:rPr lang="en-IN" sz="1000" b="0" i="0" u="none" strike="noStrike" dirty="0">
                          <a:solidFill>
                            <a:schemeClr val="tx1"/>
                          </a:solidFill>
                          <a:effectLst/>
                          <a:latin typeface="Calibri" panose="020F0502020204030204" pitchFamily="34" charset="0"/>
                        </a:rPr>
                        <a:t>Axis Blue-Chip, Alpha 10</a:t>
                      </a:r>
                      <a:endParaRPr lang="en-IN" sz="1000" b="0" i="0" u="none" strike="noStrike" dirty="0">
                        <a:solidFill>
                          <a:schemeClr val="tx1"/>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Calibri" panose="020F0502020204030204" pitchFamily="34" charset="0"/>
                        </a:rPr>
                        <a:t>ASK IEP, UTI Flexi-cap, Axis Focused 25, </a:t>
                      </a:r>
                      <a:endParaRPr lang="en-US" sz="1000" b="0" i="0" u="none" strike="noStrike" dirty="0">
                        <a:solidFill>
                          <a:schemeClr val="tx1"/>
                        </a:solidFill>
                        <a:effectLst/>
                        <a:latin typeface="Calibri" panose="020F0502020204030204" pitchFamily="34" charset="0"/>
                      </a:endParaRPr>
                    </a:p>
                    <a:p>
                      <a:pPr algn="ctr" fontAlgn="ctr"/>
                      <a:r>
                        <a:rPr lang="en-US" sz="1000" b="0" i="0" u="none" strike="noStrike" dirty="0">
                          <a:solidFill>
                            <a:schemeClr val="tx1"/>
                          </a:solidFill>
                          <a:effectLst/>
                          <a:latin typeface="Calibri" panose="020F0502020204030204" pitchFamily="34" charset="0"/>
                        </a:rPr>
                        <a:t>Alchemy Growth, and Renaissance BITS</a:t>
                      </a:r>
                      <a:endParaRPr lang="en-US" sz="1000" b="0" i="0" u="none" strike="noStrike" dirty="0">
                        <a:solidFill>
                          <a:schemeClr val="tx1"/>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Calibri" panose="020F0502020204030204" pitchFamily="34" charset="0"/>
                        </a:rPr>
                        <a:t>Axis Small Cap, </a:t>
                      </a:r>
                      <a:endParaRPr lang="en-IN" sz="1000" b="0" i="0" u="none" strike="noStrike" dirty="0">
                        <a:solidFill>
                          <a:schemeClr val="tx1"/>
                        </a:solidFill>
                        <a:effectLst/>
                        <a:latin typeface="Calibri" panose="020F0502020204030204" pitchFamily="34" charset="0"/>
                      </a:endParaRPr>
                    </a:p>
                    <a:p>
                      <a:pPr algn="ctr" fontAlgn="ctr"/>
                      <a:r>
                        <a:rPr lang="en-IN" sz="1000" b="0" i="0" u="none" strike="noStrike" dirty="0">
                          <a:solidFill>
                            <a:schemeClr val="tx1"/>
                          </a:solidFill>
                          <a:effectLst/>
                          <a:latin typeface="Calibri" panose="020F0502020204030204" pitchFamily="34" charset="0"/>
                        </a:rPr>
                        <a:t>Marcellus Little Champs</a:t>
                      </a:r>
                      <a:endParaRPr lang="en-IN" sz="1000" b="0" i="0" u="none" strike="noStrike" dirty="0">
                        <a:solidFill>
                          <a:schemeClr val="tx1"/>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r>
              <a:tr h="587274">
                <a:tc>
                  <a:txBody>
                    <a:bodyPr/>
                    <a:lstStyle/>
                    <a:p>
                      <a:pPr algn="ctr" fontAlgn="ctr"/>
                      <a:r>
                        <a:rPr lang="en-IN" sz="1000" b="1" i="0" u="none" strike="noStrike" dirty="0">
                          <a:solidFill>
                            <a:srgbClr val="000000"/>
                          </a:solidFill>
                          <a:effectLst/>
                          <a:latin typeface="Calibri" panose="020F0502020204030204" pitchFamily="34" charset="0"/>
                        </a:rPr>
                        <a:t>GARP</a:t>
                      </a:r>
                      <a:endParaRPr lang="en-IN" sz="10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000" b="0" i="0" u="none" strike="noStrike" dirty="0">
                          <a:solidFill>
                            <a:schemeClr val="tx1"/>
                          </a:solidFill>
                          <a:effectLst/>
                          <a:latin typeface="Calibri" panose="020F0502020204030204" pitchFamily="34" charset="0"/>
                        </a:rPr>
                        <a:t>Kotak Blue-chip, Mirae Large-Cap,  Renaissance Opportunities Portfolio</a:t>
                      </a:r>
                      <a:endParaRPr lang="en-IN" sz="1000" b="0" i="0" u="none" strike="noStrike" dirty="0">
                        <a:solidFill>
                          <a:schemeClr val="tx1"/>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000" b="0" i="0" u="none" strike="noStrike" dirty="0">
                          <a:solidFill>
                            <a:schemeClr val="tx1"/>
                          </a:solidFill>
                          <a:effectLst/>
                          <a:latin typeface="Calibri" panose="020F0502020204030204" pitchFamily="34" charset="0"/>
                        </a:rPr>
                        <a:t>Enam, AAA IOP, White-Oak, AAA IOP, </a:t>
                      </a:r>
                      <a:endParaRPr lang="en-IN" sz="1000" b="0" i="0" u="none" strike="noStrike" dirty="0">
                        <a:solidFill>
                          <a:schemeClr val="tx1"/>
                        </a:solidFill>
                        <a:effectLst/>
                        <a:latin typeface="Calibri" panose="020F0502020204030204" pitchFamily="34" charset="0"/>
                      </a:endParaRPr>
                    </a:p>
                    <a:p>
                      <a:pPr algn="ctr" fontAlgn="ctr"/>
                      <a:r>
                        <a:rPr lang="en-IN" sz="1000" b="0" i="0" u="none" strike="noStrike" dirty="0">
                          <a:solidFill>
                            <a:schemeClr val="tx1"/>
                          </a:solidFill>
                          <a:effectLst/>
                          <a:latin typeface="Calibri" panose="020F0502020204030204" pitchFamily="34" charset="0"/>
                        </a:rPr>
                        <a:t>And CA MFM</a:t>
                      </a:r>
                      <a:endParaRPr lang="en-IN" sz="1000" b="0" i="0" u="none" strike="noStrike" dirty="0">
                        <a:solidFill>
                          <a:schemeClr val="tx1"/>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en-IN" sz="1000" b="0" i="0" u="none" strike="noStrike" dirty="0">
                          <a:solidFill>
                            <a:schemeClr val="tx1"/>
                          </a:solidFill>
                          <a:effectLst/>
                          <a:latin typeface="Calibri" panose="020F0502020204030204" pitchFamily="34" charset="0"/>
                        </a:rPr>
                        <a:t>AccuraCap Pico Power</a:t>
                      </a:r>
                      <a:endParaRPr lang="en-IN" sz="1000" b="0" i="0" u="none" strike="noStrike" dirty="0">
                        <a:solidFill>
                          <a:schemeClr val="tx1"/>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r>
              <a:tr h="763611">
                <a:tc>
                  <a:txBody>
                    <a:bodyPr/>
                    <a:lstStyle/>
                    <a:p>
                      <a:pPr algn="ctr" fontAlgn="ctr"/>
                      <a:r>
                        <a:rPr lang="en-IN" sz="1000" b="1" i="0" u="none" strike="noStrike" dirty="0">
                          <a:solidFill>
                            <a:srgbClr val="000000"/>
                          </a:solidFill>
                          <a:effectLst/>
                          <a:latin typeface="Calibri" panose="020F0502020204030204" pitchFamily="34" charset="0"/>
                        </a:rPr>
                        <a:t>Value</a:t>
                      </a:r>
                      <a:endParaRPr lang="en-IN" sz="10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ctr" fontAlgn="ctr"/>
                      <a:r>
                        <a:rPr lang="en-IN" sz="1000" b="0" i="0" u="none" strike="noStrike" dirty="0">
                          <a:solidFill>
                            <a:schemeClr val="tx1"/>
                          </a:solidFill>
                          <a:effectLst/>
                          <a:latin typeface="Calibri" panose="020F0502020204030204" pitchFamily="34" charset="0"/>
                        </a:rPr>
                        <a:t>HDFC Top 100</a:t>
                      </a:r>
                      <a:endParaRPr lang="en-IN" sz="1000" b="0" i="0" u="none" strike="noStrike" dirty="0">
                        <a:solidFill>
                          <a:schemeClr val="tx1"/>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ctr" fontAlgn="ctr"/>
                      <a:r>
                        <a:rPr lang="en-IN" sz="1000" b="0" i="0" u="none" strike="noStrike" dirty="0">
                          <a:solidFill>
                            <a:schemeClr val="tx1"/>
                          </a:solidFill>
                          <a:effectLst/>
                          <a:latin typeface="Calibri" panose="020F0502020204030204" pitchFamily="34" charset="0"/>
                        </a:rPr>
                        <a:t>Karma Capital, Kotak SSV, </a:t>
                      </a:r>
                      <a:endParaRPr lang="en-IN" sz="1000" b="0" i="0" u="none" strike="noStrike" dirty="0">
                        <a:solidFill>
                          <a:schemeClr val="tx1"/>
                        </a:solidFill>
                        <a:effectLst/>
                        <a:latin typeface="Calibri" panose="020F0502020204030204" pitchFamily="34" charset="0"/>
                      </a:endParaRPr>
                    </a:p>
                    <a:p>
                      <a:pPr algn="ctr" fontAlgn="ctr"/>
                      <a:r>
                        <a:rPr lang="en-IN" sz="1000" b="0" i="0" u="none" strike="noStrike" dirty="0">
                          <a:solidFill>
                            <a:schemeClr val="tx1"/>
                          </a:solidFill>
                          <a:effectLst/>
                          <a:latin typeface="Calibri" panose="020F0502020204030204" pitchFamily="34" charset="0"/>
                        </a:rPr>
                        <a:t>Old Bridge, L&amp;T India Value and </a:t>
                      </a:r>
                      <a:endParaRPr lang="en-IN" sz="1000" b="0" i="0" u="none" strike="noStrike" dirty="0">
                        <a:solidFill>
                          <a:schemeClr val="tx1"/>
                        </a:solidFill>
                        <a:effectLst/>
                        <a:latin typeface="Calibri" panose="020F0502020204030204" pitchFamily="34" charset="0"/>
                      </a:endParaRPr>
                    </a:p>
                    <a:p>
                      <a:pPr algn="ctr" fontAlgn="ctr"/>
                      <a:r>
                        <a:rPr lang="en-IN" sz="1000" b="0" i="0" u="none" strike="noStrike" dirty="0">
                          <a:solidFill>
                            <a:schemeClr val="tx1"/>
                          </a:solidFill>
                          <a:effectLst/>
                          <a:latin typeface="Calibri" panose="020F0502020204030204" pitchFamily="34" charset="0"/>
                        </a:rPr>
                        <a:t>HDFC Equity</a:t>
                      </a:r>
                      <a:endParaRPr lang="en-IN" sz="1000" b="0" i="0" u="none" strike="noStrike" dirty="0">
                        <a:solidFill>
                          <a:schemeClr val="tx1"/>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ctr" fontAlgn="ctr"/>
                      <a:r>
                        <a:rPr lang="en-US" sz="1000" b="0" i="0" u="none" strike="noStrike" dirty="0">
                          <a:solidFill>
                            <a:schemeClr val="tx1"/>
                          </a:solidFill>
                          <a:effectLst/>
                          <a:latin typeface="Calibri" panose="020F0502020204030204" pitchFamily="34" charset="0"/>
                        </a:rPr>
                        <a:t>Malabar Value, Abbakkus, Unifi, Old          bridge, Vallum, Aurum nine rivers,</a:t>
                      </a:r>
                      <a:endParaRPr lang="en-US" sz="1000" b="0" i="0" u="none" strike="noStrike" dirty="0">
                        <a:solidFill>
                          <a:schemeClr val="tx1"/>
                        </a:solidFill>
                        <a:effectLst/>
                        <a:latin typeface="Calibri" panose="020F0502020204030204" pitchFamily="34" charset="0"/>
                      </a:endParaRPr>
                    </a:p>
                    <a:p>
                      <a:pPr algn="ctr" fontAlgn="ctr"/>
                      <a:r>
                        <a:rPr lang="en-US" sz="1000" b="0" i="0" u="none" strike="noStrike" dirty="0">
                          <a:solidFill>
                            <a:schemeClr val="tx1"/>
                          </a:solidFill>
                          <a:effectLst/>
                          <a:latin typeface="Calibri" panose="020F0502020204030204" pitchFamily="34" charset="0"/>
                        </a:rPr>
                        <a:t>Equity Intelligence, and VEC</a:t>
                      </a:r>
                      <a:endParaRPr lang="en-US" sz="1000" b="0" i="0" u="none" strike="noStrike" dirty="0">
                        <a:solidFill>
                          <a:schemeClr val="tx1"/>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r>
            </a:tbl>
          </a:graphicData>
        </a:graphic>
      </p:graphicFrame>
      <p:graphicFrame>
        <p:nvGraphicFramePr>
          <p:cNvPr id="3" name="Diagram 2"/>
          <p:cNvGraphicFramePr/>
          <p:nvPr/>
        </p:nvGraphicFramePr>
        <p:xfrm>
          <a:off x="655878" y="3651900"/>
          <a:ext cx="7832243" cy="863834"/>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Tree>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540544" y="895351"/>
          <a:ext cx="3372326" cy="2011680"/>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3" name="Chart 2"/>
          <p:cNvGraphicFramePr/>
          <p:nvPr/>
        </p:nvGraphicFramePr>
        <p:xfrm>
          <a:off x="4404360" y="897525"/>
          <a:ext cx="3779520" cy="208570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Table 3"/>
          <p:cNvGraphicFramePr>
            <a:graphicFrameLocks noGrp="1"/>
          </p:cNvGraphicFramePr>
          <p:nvPr/>
        </p:nvGraphicFramePr>
        <p:xfrm>
          <a:off x="624420" y="3285855"/>
          <a:ext cx="7841400" cy="1518558"/>
        </p:xfrm>
        <a:graphic>
          <a:graphicData uri="http://schemas.openxmlformats.org/drawingml/2006/table">
            <a:tbl>
              <a:tblPr/>
              <a:tblGrid>
                <a:gridCol w="1568280"/>
                <a:gridCol w="1792320"/>
                <a:gridCol w="1344240"/>
                <a:gridCol w="3136560"/>
              </a:tblGrid>
              <a:tr h="253093">
                <a:tc>
                  <a:txBody>
                    <a:bodyPr/>
                    <a:lstStyle/>
                    <a:p>
                      <a:pPr algn="ctr" fontAlgn="ctr"/>
                      <a:r>
                        <a:rPr lang="en-IN" sz="800" b="1" i="0" u="none" strike="noStrike" dirty="0">
                          <a:solidFill>
                            <a:schemeClr val="bg1"/>
                          </a:solidFill>
                          <a:effectLst/>
                          <a:latin typeface="Calibri" panose="020F0502020204030204" pitchFamily="34" charset="0"/>
                        </a:rPr>
                        <a:t>Grid-assessed Score</a:t>
                      </a:r>
                      <a:endParaRPr lang="en-IN" sz="800" b="1" i="0" u="none" strike="noStrike" dirty="0">
                        <a:solidFill>
                          <a:schemeClr val="bg1"/>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IN" sz="800" b="1" i="0" u="none" strike="noStrike" dirty="0">
                          <a:solidFill>
                            <a:schemeClr val="bg1"/>
                          </a:solidFill>
                          <a:effectLst/>
                          <a:latin typeface="Calibri" panose="020F0502020204030204" pitchFamily="34" charset="0"/>
                        </a:rPr>
                        <a:t>CA Stance</a:t>
                      </a:r>
                      <a:endParaRPr lang="en-IN" sz="800" b="1" i="0" u="none" strike="noStrike" dirty="0">
                        <a:solidFill>
                          <a:schemeClr val="bg1"/>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IN" sz="800" b="1" i="0" u="none" strike="noStrike">
                          <a:solidFill>
                            <a:schemeClr val="bg1"/>
                          </a:solidFill>
                          <a:effectLst/>
                          <a:latin typeface="Calibri" panose="020F0502020204030204" pitchFamily="34" charset="0"/>
                        </a:rPr>
                        <a:t>Beta</a:t>
                      </a:r>
                      <a:endParaRPr lang="en-IN" sz="800" b="1" i="0" u="none" strike="noStrike">
                        <a:solidFill>
                          <a:schemeClr val="bg1"/>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IN" sz="800" b="1" i="0" u="none" strike="noStrike" dirty="0">
                          <a:solidFill>
                            <a:schemeClr val="bg1"/>
                          </a:solidFill>
                          <a:effectLst/>
                          <a:latin typeface="Calibri" panose="020F0502020204030204" pitchFamily="34" charset="0"/>
                        </a:rPr>
                        <a:t>Comments</a:t>
                      </a:r>
                      <a:endParaRPr lang="en-IN" sz="800" b="1" i="0" u="none" strike="noStrike" dirty="0">
                        <a:solidFill>
                          <a:schemeClr val="bg1"/>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r>
              <a:tr h="253093">
                <a:tc>
                  <a:txBody>
                    <a:bodyPr/>
                    <a:lstStyle/>
                    <a:p>
                      <a:pPr algn="ctr" fontAlgn="ctr"/>
                      <a:r>
                        <a:rPr lang="en-IN" sz="800" b="1" i="0" u="none" strike="noStrike" dirty="0">
                          <a:solidFill>
                            <a:srgbClr val="000000"/>
                          </a:solidFill>
                          <a:effectLst/>
                          <a:latin typeface="Calibri" panose="020F0502020204030204" pitchFamily="34" charset="0"/>
                        </a:rPr>
                        <a:t>CAE 1</a:t>
                      </a:r>
                      <a:endParaRPr lang="en-IN" sz="800" b="1"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800" b="1" i="0" u="none" strike="noStrike" dirty="0">
                          <a:solidFill>
                            <a:srgbClr val="000000"/>
                          </a:solidFill>
                          <a:effectLst/>
                          <a:latin typeface="Calibri" panose="020F0502020204030204" pitchFamily="34" charset="0"/>
                        </a:rPr>
                        <a:t>Overweight Plus</a:t>
                      </a:r>
                      <a:endParaRPr lang="en-IN" sz="800" b="1"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800" b="1" i="0" u="none" strike="noStrike" dirty="0">
                          <a:solidFill>
                            <a:srgbClr val="000000"/>
                          </a:solidFill>
                          <a:effectLst/>
                          <a:latin typeface="Calibri" panose="020F0502020204030204" pitchFamily="34" charset="0"/>
                        </a:rPr>
                        <a:t>1.10-1.20</a:t>
                      </a:r>
                      <a:endParaRPr lang="en-IN" sz="800" b="1"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800" b="0" i="0" u="none" strike="noStrike" dirty="0">
                          <a:solidFill>
                            <a:srgbClr val="000000"/>
                          </a:solidFill>
                          <a:effectLst/>
                          <a:latin typeface="Calibri" panose="020F0502020204030204" pitchFamily="34" charset="0"/>
                        </a:rPr>
                        <a:t>Higher allocation to Mid-small &amp; Value and GARP</a:t>
                      </a:r>
                      <a:endParaRPr lang="en-US" sz="800" b="0"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3093">
                <a:tc>
                  <a:txBody>
                    <a:bodyPr/>
                    <a:lstStyle/>
                    <a:p>
                      <a:pPr algn="ctr" fontAlgn="ctr"/>
                      <a:r>
                        <a:rPr lang="en-IN" sz="800" b="1" i="0" u="none" strike="noStrike" dirty="0">
                          <a:solidFill>
                            <a:srgbClr val="000000"/>
                          </a:solidFill>
                          <a:effectLst/>
                          <a:latin typeface="Calibri" panose="020F0502020204030204" pitchFamily="34" charset="0"/>
                        </a:rPr>
                        <a:t>CAE 2</a:t>
                      </a:r>
                      <a:endParaRPr lang="en-IN" sz="800" b="1"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800" b="1" i="0" u="none" strike="noStrike" dirty="0">
                          <a:solidFill>
                            <a:srgbClr val="000000"/>
                          </a:solidFill>
                          <a:effectLst/>
                          <a:latin typeface="Calibri" panose="020F0502020204030204" pitchFamily="34" charset="0"/>
                        </a:rPr>
                        <a:t>Overweight</a:t>
                      </a:r>
                      <a:endParaRPr lang="en-IN" sz="800" b="1"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800" b="1" i="0" u="none" strike="noStrike" dirty="0">
                          <a:solidFill>
                            <a:srgbClr val="000000"/>
                          </a:solidFill>
                          <a:effectLst/>
                          <a:latin typeface="Calibri" panose="020F0502020204030204" pitchFamily="34" charset="0"/>
                        </a:rPr>
                        <a:t>1-1.10</a:t>
                      </a:r>
                      <a:endParaRPr lang="en-IN" sz="800" b="1"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r>
              <a:tr h="253093">
                <a:tc>
                  <a:txBody>
                    <a:bodyPr/>
                    <a:lstStyle/>
                    <a:p>
                      <a:pPr algn="ctr" fontAlgn="ctr"/>
                      <a:r>
                        <a:rPr lang="en-IN" sz="800" b="1" i="0" u="none" strike="noStrike" dirty="0">
                          <a:solidFill>
                            <a:srgbClr val="000000"/>
                          </a:solidFill>
                          <a:effectLst/>
                          <a:latin typeface="Calibri" panose="020F0502020204030204" pitchFamily="34" charset="0"/>
                        </a:rPr>
                        <a:t>CAE 3</a:t>
                      </a:r>
                      <a:endParaRPr lang="en-IN" sz="800" b="1"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800" b="1" i="0" u="none" strike="noStrike" dirty="0">
                          <a:solidFill>
                            <a:srgbClr val="000000"/>
                          </a:solidFill>
                          <a:effectLst/>
                          <a:latin typeface="Calibri" panose="020F0502020204030204" pitchFamily="34" charset="0"/>
                        </a:rPr>
                        <a:t>Neutral</a:t>
                      </a:r>
                      <a:endParaRPr lang="en-IN" sz="800" b="1"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800" b="1" i="0" u="none" strike="noStrike" dirty="0">
                          <a:solidFill>
                            <a:srgbClr val="000000"/>
                          </a:solidFill>
                          <a:effectLst/>
                          <a:latin typeface="Calibri" panose="020F0502020204030204" pitchFamily="34" charset="0"/>
                        </a:rPr>
                        <a:t>1.00</a:t>
                      </a:r>
                      <a:endParaRPr lang="en-IN" sz="800" b="1"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800" b="0" i="0" u="none" strike="noStrike" dirty="0">
                          <a:solidFill>
                            <a:srgbClr val="000000"/>
                          </a:solidFill>
                          <a:effectLst/>
                          <a:latin typeface="Calibri" panose="020F0502020204030204" pitchFamily="34" charset="0"/>
                        </a:rPr>
                        <a:t>Multi-cap + GARP </a:t>
                      </a:r>
                      <a:endParaRPr lang="en-IN" sz="800" b="0"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3093">
                <a:tc>
                  <a:txBody>
                    <a:bodyPr/>
                    <a:lstStyle/>
                    <a:p>
                      <a:pPr algn="ctr" fontAlgn="ctr"/>
                      <a:r>
                        <a:rPr lang="en-IN" sz="800" b="1" i="0" u="none" strike="noStrike" dirty="0">
                          <a:solidFill>
                            <a:srgbClr val="000000"/>
                          </a:solidFill>
                          <a:effectLst/>
                          <a:latin typeface="Calibri" panose="020F0502020204030204" pitchFamily="34" charset="0"/>
                        </a:rPr>
                        <a:t>CAE 4</a:t>
                      </a:r>
                      <a:endParaRPr lang="en-IN" sz="800" b="1"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800" b="1" i="0" u="none" strike="noStrike" dirty="0">
                          <a:solidFill>
                            <a:srgbClr val="000000"/>
                          </a:solidFill>
                          <a:effectLst/>
                          <a:latin typeface="Calibri" panose="020F0502020204030204" pitchFamily="34" charset="0"/>
                        </a:rPr>
                        <a:t>Underweight </a:t>
                      </a:r>
                      <a:endParaRPr lang="en-IN" sz="800" b="1"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800" b="1" i="0" u="none" strike="noStrike" dirty="0">
                          <a:solidFill>
                            <a:srgbClr val="000000"/>
                          </a:solidFill>
                          <a:effectLst/>
                          <a:latin typeface="Calibri" panose="020F0502020204030204" pitchFamily="34" charset="0"/>
                        </a:rPr>
                        <a:t>0.90-1</a:t>
                      </a:r>
                      <a:endParaRPr lang="en-IN" sz="800" b="1"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800" b="0" i="0" u="none" strike="noStrike" dirty="0">
                          <a:solidFill>
                            <a:srgbClr val="000000"/>
                          </a:solidFill>
                          <a:effectLst/>
                          <a:latin typeface="Calibri" panose="020F0502020204030204" pitchFamily="34" charset="0"/>
                        </a:rPr>
                        <a:t>Higher allocation to Large-cap growth stocks </a:t>
                      </a:r>
                      <a:endParaRPr lang="en-US" sz="800" b="0"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3093">
                <a:tc>
                  <a:txBody>
                    <a:bodyPr/>
                    <a:lstStyle/>
                    <a:p>
                      <a:pPr algn="ctr" fontAlgn="ctr"/>
                      <a:r>
                        <a:rPr lang="en-IN" sz="800" b="1" i="0" u="none" strike="noStrike" dirty="0">
                          <a:solidFill>
                            <a:srgbClr val="000000"/>
                          </a:solidFill>
                          <a:effectLst/>
                          <a:latin typeface="Calibri" panose="020F0502020204030204" pitchFamily="34" charset="0"/>
                        </a:rPr>
                        <a:t>CAE 5</a:t>
                      </a:r>
                      <a:endParaRPr lang="en-IN" sz="800" b="1"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800" b="1" i="0" u="none" strike="noStrike" dirty="0">
                          <a:solidFill>
                            <a:srgbClr val="000000"/>
                          </a:solidFill>
                          <a:effectLst/>
                          <a:latin typeface="Calibri" panose="020F0502020204030204" pitchFamily="34" charset="0"/>
                        </a:rPr>
                        <a:t>Underweight Plus</a:t>
                      </a:r>
                      <a:endParaRPr lang="en-IN" sz="800" b="1"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800" b="1" i="0" u="none" strike="noStrike" dirty="0">
                          <a:solidFill>
                            <a:srgbClr val="000000"/>
                          </a:solidFill>
                          <a:effectLst/>
                          <a:latin typeface="Calibri" panose="020F0502020204030204" pitchFamily="34" charset="0"/>
                        </a:rPr>
                        <a:t>0.80-0.90</a:t>
                      </a:r>
                      <a:endParaRPr lang="en-IN" sz="800" b="1"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r>
            </a:tbl>
          </a:graphicData>
        </a:graphic>
      </p:graphicFrame>
      <p:sp>
        <p:nvSpPr>
          <p:cNvPr id="7" name="TextBox 6"/>
          <p:cNvSpPr txBox="1"/>
          <p:nvPr/>
        </p:nvSpPr>
        <p:spPr>
          <a:xfrm>
            <a:off x="241321" y="136042"/>
            <a:ext cx="5386411" cy="461665"/>
          </a:xfrm>
          <a:prstGeom prst="rect">
            <a:avLst/>
          </a:prstGeom>
          <a:noFill/>
        </p:spPr>
        <p:txBody>
          <a:bodyPr wrap="none" rtlCol="0">
            <a:spAutoFit/>
          </a:bodyPr>
          <a:lstStyle/>
          <a:p>
            <a:r>
              <a:rPr lang="en-US" sz="2400" dirty="0">
                <a:solidFill>
                  <a:srgbClr val="084795"/>
                </a:solidFill>
                <a:latin typeface="Roboto" panose="02000000000000000000" pitchFamily="2" charset="0"/>
                <a:ea typeface="Roboto" panose="02000000000000000000" pitchFamily="2" charset="0"/>
                <a:cs typeface="Roboto" panose="02000000000000000000" pitchFamily="2" charset="0"/>
              </a:rPr>
              <a:t>Beta Management &amp; Alpha Harvesting</a:t>
            </a:r>
            <a:endParaRPr lang="en-US" sz="2400" dirty="0">
              <a:solidFill>
                <a:srgbClr val="084795"/>
              </a:solidFill>
              <a:latin typeface="Roboto" panose="02000000000000000000" pitchFamily="2" charset="0"/>
              <a:ea typeface="Roboto" panose="02000000000000000000" pitchFamily="2" charset="0"/>
              <a:cs typeface="Roboto" panose="02000000000000000000" pitchFamily="2" charset="0"/>
            </a:endParaRPr>
          </a:p>
        </p:txBody>
      </p:sp>
    </p:spTree>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410" y="195420"/>
            <a:ext cx="6815138" cy="466725"/>
          </a:xfrm>
        </p:spPr>
        <p:txBody>
          <a:bodyPr/>
          <a:lstStyle/>
          <a:p>
            <a:r>
              <a:rPr lang="en-IN" sz="2700" dirty="0">
                <a:latin typeface="Calibri" panose="020F0502020204030204" pitchFamily="34" charset="0"/>
                <a:cs typeface="Calibri" panose="020F0502020204030204" pitchFamily="34" charset="0"/>
              </a:rPr>
              <a:t>CA Equity Model Portfolio Performance</a:t>
            </a:r>
            <a:endParaRPr lang="en-IN" sz="2700" dirty="0">
              <a:latin typeface="Calibri" panose="020F0502020204030204" pitchFamily="34" charset="0"/>
              <a:cs typeface="Calibri" panose="020F0502020204030204" pitchFamily="34" charset="0"/>
            </a:endParaRPr>
          </a:p>
        </p:txBody>
      </p:sp>
      <p:graphicFrame>
        <p:nvGraphicFramePr>
          <p:cNvPr id="5" name="Table 4"/>
          <p:cNvGraphicFramePr>
            <a:graphicFrameLocks noGrp="1"/>
          </p:cNvGraphicFramePr>
          <p:nvPr/>
        </p:nvGraphicFramePr>
        <p:xfrm>
          <a:off x="323410" y="555470"/>
          <a:ext cx="7921099" cy="4535050"/>
        </p:xfrm>
        <a:graphic>
          <a:graphicData uri="http://schemas.openxmlformats.org/drawingml/2006/table">
            <a:tbl>
              <a:tblPr firstRow="1" firstCol="1" bandRow="1"/>
              <a:tblGrid>
                <a:gridCol w="1649850"/>
                <a:gridCol w="1943204"/>
                <a:gridCol w="1413239"/>
                <a:gridCol w="1413239"/>
                <a:gridCol w="1501567"/>
              </a:tblGrid>
              <a:tr h="295165">
                <a:tc>
                  <a:txBody>
                    <a:bodyPr/>
                    <a:lstStyle/>
                    <a:p>
                      <a:pPr algn="ctr">
                        <a:spcAft>
                          <a:spcPts val="0"/>
                        </a:spcAft>
                      </a:pPr>
                      <a:r>
                        <a:rPr lang="en-US" sz="1050" b="1" dirty="0">
                          <a:solidFill>
                            <a:srgbClr val="FFFFFF"/>
                          </a:solidFill>
                          <a:effectLst/>
                          <a:latin typeface="Calibri" panose="020F0502020204030204" pitchFamily="34" charset="0"/>
                          <a:ea typeface="Calibri" panose="020F0502020204030204" pitchFamily="34" charset="0"/>
                          <a:cs typeface="Times New Roman" panose="02020603050405020304" charset="0"/>
                        </a:rPr>
                        <a:t>CY</a:t>
                      </a:r>
                      <a:endParaRPr lang="en-IN" sz="1050" dirty="0">
                        <a:effectLst/>
                        <a:latin typeface="Calibri" panose="020F0502020204030204" pitchFamily="34" charset="0"/>
                        <a:ea typeface="Calibri" panose="020F0502020204030204" pitchFamily="34" charset="0"/>
                        <a:cs typeface="Times New Roman" panose="0202060305040502030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a:spcAft>
                          <a:spcPts val="0"/>
                        </a:spcAft>
                      </a:pPr>
                      <a:r>
                        <a:rPr lang="en-US" sz="1050" b="1" dirty="0">
                          <a:solidFill>
                            <a:srgbClr val="000000"/>
                          </a:solidFill>
                          <a:effectLst/>
                          <a:latin typeface="Calibri" panose="020F0502020204030204" pitchFamily="34" charset="0"/>
                          <a:ea typeface="Calibri" panose="020F0502020204030204" pitchFamily="34" charset="0"/>
                          <a:cs typeface="Times New Roman" panose="02020603050405020304" charset="0"/>
                        </a:rPr>
                        <a:t>CA Equity Model Portfolio</a:t>
                      </a:r>
                      <a:endParaRPr lang="en-IN" sz="1050" dirty="0">
                        <a:effectLst/>
                        <a:latin typeface="Calibri" panose="020F0502020204030204" pitchFamily="34" charset="0"/>
                        <a:ea typeface="Calibri" panose="020F0502020204030204" pitchFamily="34" charset="0"/>
                        <a:cs typeface="Times New Roman" panose="0202060305040502030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a:spcAft>
                          <a:spcPts val="0"/>
                        </a:spcAft>
                      </a:pPr>
                      <a:r>
                        <a:rPr lang="en-US" sz="1050" b="1" dirty="0">
                          <a:solidFill>
                            <a:srgbClr val="000000"/>
                          </a:solidFill>
                          <a:effectLst/>
                          <a:latin typeface="Calibri" panose="020F0502020204030204" pitchFamily="34" charset="0"/>
                          <a:ea typeface="Calibri" panose="020F0502020204030204" pitchFamily="34" charset="0"/>
                          <a:cs typeface="Times New Roman" panose="02020603050405020304" charset="0"/>
                        </a:rPr>
                        <a:t>SENSEX</a:t>
                      </a:r>
                      <a:endParaRPr lang="en-IN" sz="1050" dirty="0">
                        <a:effectLst/>
                        <a:latin typeface="Calibri" panose="020F0502020204030204" pitchFamily="34" charset="0"/>
                        <a:ea typeface="Calibri" panose="020F0502020204030204" pitchFamily="34" charset="0"/>
                        <a:cs typeface="Times New Roman" panose="0202060305040502030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a:spcAft>
                          <a:spcPts val="0"/>
                        </a:spcAft>
                      </a:pPr>
                      <a:r>
                        <a:rPr lang="en-US" sz="1050" b="1" dirty="0">
                          <a:solidFill>
                            <a:srgbClr val="000000"/>
                          </a:solidFill>
                          <a:effectLst/>
                          <a:latin typeface="Calibri" panose="020F0502020204030204" pitchFamily="34" charset="0"/>
                          <a:ea typeface="Calibri" panose="020F0502020204030204" pitchFamily="34" charset="0"/>
                          <a:cs typeface="Times New Roman" panose="02020603050405020304" charset="0"/>
                        </a:rPr>
                        <a:t>BSE 500</a:t>
                      </a:r>
                      <a:endParaRPr lang="en-IN" sz="1050" dirty="0">
                        <a:effectLst/>
                        <a:latin typeface="Calibri" panose="020F0502020204030204" pitchFamily="34" charset="0"/>
                        <a:ea typeface="Calibri" panose="020F0502020204030204" pitchFamily="34" charset="0"/>
                        <a:cs typeface="Times New Roman" panose="0202060305040502030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a:spcAft>
                          <a:spcPts val="0"/>
                        </a:spcAft>
                      </a:pPr>
                      <a:r>
                        <a:rPr lang="en-IN" sz="1050" b="1" dirty="0">
                          <a:effectLst/>
                          <a:latin typeface="Calibri" panose="020F0502020204030204" pitchFamily="34" charset="0"/>
                          <a:ea typeface="Calibri" panose="020F0502020204030204" pitchFamily="34" charset="0"/>
                          <a:cs typeface="Times New Roman" panose="02020603050405020304" charset="0"/>
                        </a:rPr>
                        <a:t>Alpha over BSE 500</a:t>
                      </a:r>
                      <a:endParaRPr lang="en-IN" sz="1050" b="1" dirty="0">
                        <a:effectLst/>
                        <a:latin typeface="Calibri" panose="020F0502020204030204" pitchFamily="34" charset="0"/>
                        <a:ea typeface="Calibri" panose="020F0502020204030204" pitchFamily="34" charset="0"/>
                        <a:cs typeface="Times New Roman" panose="0202060305040502030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r>
              <a:tr h="249405">
                <a:tc>
                  <a:txBody>
                    <a:bodyPr/>
                    <a:lstStyle/>
                    <a:p>
                      <a:pPr algn="ctr">
                        <a:spcAft>
                          <a:spcPts val="0"/>
                        </a:spcAft>
                      </a:pPr>
                      <a:r>
                        <a:rPr lang="en-US" sz="1050" b="1" dirty="0">
                          <a:solidFill>
                            <a:srgbClr val="FFFFFF"/>
                          </a:solidFill>
                          <a:effectLst/>
                          <a:latin typeface="Calibri" panose="020F0502020204030204" pitchFamily="34" charset="0"/>
                          <a:ea typeface="Calibri" panose="020F0502020204030204" pitchFamily="34" charset="0"/>
                          <a:cs typeface="Times New Roman" panose="02020603050405020304" charset="0"/>
                        </a:rPr>
                        <a:t>2010</a:t>
                      </a:r>
                      <a:endParaRPr lang="en-IN" sz="1050" dirty="0">
                        <a:effectLst/>
                        <a:latin typeface="Calibri" panose="020F0502020204030204" pitchFamily="34" charset="0"/>
                        <a:ea typeface="Calibri" panose="020F0502020204030204" pitchFamily="34" charset="0"/>
                        <a:cs typeface="Times New Roman" panose="0202060305040502030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fontAlgn="ctr"/>
                      <a:r>
                        <a:rPr lang="en-GB" sz="1050" b="0" i="0" u="none" strike="noStrike">
                          <a:solidFill>
                            <a:srgbClr val="000000"/>
                          </a:solidFill>
                          <a:effectLst/>
                          <a:latin typeface="Calibri" panose="020F0502020204030204" pitchFamily="34" charset="0"/>
                        </a:rPr>
                        <a:t>19.0%</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fontAlgn="ctr"/>
                      <a:r>
                        <a:rPr lang="en-GB" sz="1050" b="0" i="0" u="none" strike="noStrike" dirty="0">
                          <a:solidFill>
                            <a:srgbClr val="000000"/>
                          </a:solidFill>
                          <a:effectLst/>
                          <a:latin typeface="Calibri" panose="020F0502020204030204" pitchFamily="34" charset="0"/>
                        </a:rPr>
                        <a:t>17.4%</a:t>
                      </a:r>
                      <a:endParaRPr lang="en-GB" sz="105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fontAlgn="ctr"/>
                      <a:r>
                        <a:rPr lang="en-GB" sz="1050" b="0" i="0" u="none" strike="noStrike">
                          <a:solidFill>
                            <a:srgbClr val="000000"/>
                          </a:solidFill>
                          <a:effectLst/>
                          <a:latin typeface="Calibri" panose="020F0502020204030204" pitchFamily="34" charset="0"/>
                        </a:rPr>
                        <a:t>16.4%</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fontAlgn="ctr"/>
                      <a:r>
                        <a:rPr lang="en-GB" sz="1050" b="0" i="0" u="none" strike="noStrike">
                          <a:solidFill>
                            <a:srgbClr val="000000"/>
                          </a:solidFill>
                          <a:effectLst/>
                          <a:latin typeface="Calibri" panose="020F0502020204030204" pitchFamily="34" charset="0"/>
                        </a:rPr>
                        <a:t>2.6%</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r>
              <a:tr h="249405">
                <a:tc>
                  <a:txBody>
                    <a:bodyPr/>
                    <a:lstStyle/>
                    <a:p>
                      <a:pPr algn="ctr">
                        <a:spcAft>
                          <a:spcPts val="0"/>
                        </a:spcAft>
                      </a:pPr>
                      <a:r>
                        <a:rPr lang="en-US" sz="1050" b="1" dirty="0">
                          <a:solidFill>
                            <a:srgbClr val="FFFFFF"/>
                          </a:solidFill>
                          <a:effectLst/>
                          <a:latin typeface="Calibri" panose="020F0502020204030204" pitchFamily="34" charset="0"/>
                          <a:ea typeface="Calibri" panose="020F0502020204030204" pitchFamily="34" charset="0"/>
                          <a:cs typeface="Times New Roman" panose="02020603050405020304" charset="0"/>
                        </a:rPr>
                        <a:t>2011</a:t>
                      </a:r>
                      <a:endParaRPr lang="en-IN" sz="1050" dirty="0">
                        <a:effectLst/>
                        <a:latin typeface="Calibri" panose="020F0502020204030204" pitchFamily="34" charset="0"/>
                        <a:ea typeface="Calibri" panose="020F0502020204030204" pitchFamily="34" charset="0"/>
                        <a:cs typeface="Times New Roman" panose="0202060305040502030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fontAlgn="ctr"/>
                      <a:r>
                        <a:rPr lang="en-GB" sz="1050" b="0" i="0" u="none" strike="noStrike">
                          <a:solidFill>
                            <a:srgbClr val="000000"/>
                          </a:solidFill>
                          <a:effectLst/>
                          <a:latin typeface="Calibri" panose="020F0502020204030204" pitchFamily="34" charset="0"/>
                        </a:rPr>
                        <a:t>-22.0%</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24.6%</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27.4%</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5.4%</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r>
              <a:tr h="249405">
                <a:tc>
                  <a:txBody>
                    <a:bodyPr/>
                    <a:lstStyle/>
                    <a:p>
                      <a:pPr algn="ctr">
                        <a:spcAft>
                          <a:spcPts val="0"/>
                        </a:spcAft>
                      </a:pPr>
                      <a:r>
                        <a:rPr lang="en-US" sz="1050" b="1" dirty="0">
                          <a:solidFill>
                            <a:srgbClr val="FFFFFF"/>
                          </a:solidFill>
                          <a:effectLst/>
                          <a:latin typeface="Calibri" panose="020F0502020204030204" pitchFamily="34" charset="0"/>
                          <a:ea typeface="Calibri" panose="020F0502020204030204" pitchFamily="34" charset="0"/>
                          <a:cs typeface="Times New Roman" panose="02020603050405020304" charset="0"/>
                        </a:rPr>
                        <a:t>2012</a:t>
                      </a:r>
                      <a:endParaRPr lang="en-IN" sz="1050" dirty="0">
                        <a:effectLst/>
                        <a:latin typeface="Calibri" panose="020F0502020204030204" pitchFamily="34" charset="0"/>
                        <a:ea typeface="Calibri" panose="020F0502020204030204" pitchFamily="34" charset="0"/>
                        <a:cs typeface="Times New Roman" panose="0202060305040502030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fontAlgn="ctr"/>
                      <a:r>
                        <a:rPr lang="en-GB" sz="1050" b="0" i="0" u="none" strike="noStrike">
                          <a:solidFill>
                            <a:srgbClr val="000000"/>
                          </a:solidFill>
                          <a:effectLst/>
                          <a:latin typeface="Calibri" panose="020F0502020204030204" pitchFamily="34" charset="0"/>
                        </a:rPr>
                        <a:t>34.9%</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fontAlgn="ctr"/>
                      <a:r>
                        <a:rPr lang="en-GB" sz="1050" b="0" i="0" u="none" strike="noStrike">
                          <a:solidFill>
                            <a:srgbClr val="000000"/>
                          </a:solidFill>
                          <a:effectLst/>
                          <a:latin typeface="Calibri" panose="020F0502020204030204" pitchFamily="34" charset="0"/>
                        </a:rPr>
                        <a:t>25.7%</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fontAlgn="ctr"/>
                      <a:r>
                        <a:rPr lang="en-GB" sz="1050" b="0" i="0" u="none" strike="noStrike">
                          <a:solidFill>
                            <a:srgbClr val="000000"/>
                          </a:solidFill>
                          <a:effectLst/>
                          <a:latin typeface="Calibri" panose="020F0502020204030204" pitchFamily="34" charset="0"/>
                        </a:rPr>
                        <a:t>31.2%</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fontAlgn="ctr"/>
                      <a:r>
                        <a:rPr lang="en-GB" sz="1050" b="0" i="0" u="none" strike="noStrike">
                          <a:solidFill>
                            <a:srgbClr val="000000"/>
                          </a:solidFill>
                          <a:effectLst/>
                          <a:latin typeface="Calibri" panose="020F0502020204030204" pitchFamily="34" charset="0"/>
                        </a:rPr>
                        <a:t>3.7%</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r>
              <a:tr h="249405">
                <a:tc>
                  <a:txBody>
                    <a:bodyPr/>
                    <a:lstStyle/>
                    <a:p>
                      <a:pPr algn="ctr">
                        <a:spcAft>
                          <a:spcPts val="0"/>
                        </a:spcAft>
                      </a:pPr>
                      <a:r>
                        <a:rPr lang="en-US" sz="1050" b="1" dirty="0">
                          <a:solidFill>
                            <a:srgbClr val="FFFFFF"/>
                          </a:solidFill>
                          <a:effectLst/>
                          <a:latin typeface="Calibri" panose="020F0502020204030204" pitchFamily="34" charset="0"/>
                          <a:ea typeface="Calibri" panose="020F0502020204030204" pitchFamily="34" charset="0"/>
                          <a:cs typeface="Times New Roman" panose="02020603050405020304" charset="0"/>
                        </a:rPr>
                        <a:t>2013</a:t>
                      </a:r>
                      <a:endParaRPr lang="en-IN" sz="1050" dirty="0">
                        <a:effectLst/>
                        <a:latin typeface="Calibri" panose="020F0502020204030204" pitchFamily="34" charset="0"/>
                        <a:ea typeface="Calibri" panose="020F0502020204030204" pitchFamily="34" charset="0"/>
                        <a:cs typeface="Times New Roman" panose="0202060305040502030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fontAlgn="ctr"/>
                      <a:r>
                        <a:rPr lang="en-GB" sz="1050" b="0" i="0" u="none" strike="noStrike">
                          <a:solidFill>
                            <a:srgbClr val="000000"/>
                          </a:solidFill>
                          <a:effectLst/>
                          <a:latin typeface="Calibri" panose="020F0502020204030204" pitchFamily="34" charset="0"/>
                        </a:rPr>
                        <a:t>6.2%</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9.0%</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3.3%</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2.9%</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r>
              <a:tr h="249405">
                <a:tc>
                  <a:txBody>
                    <a:bodyPr/>
                    <a:lstStyle/>
                    <a:p>
                      <a:pPr algn="ctr">
                        <a:spcAft>
                          <a:spcPts val="0"/>
                        </a:spcAft>
                      </a:pPr>
                      <a:r>
                        <a:rPr lang="en-US" sz="1050" b="1" dirty="0">
                          <a:solidFill>
                            <a:srgbClr val="FFFFFF"/>
                          </a:solidFill>
                          <a:effectLst/>
                          <a:latin typeface="Calibri" panose="020F0502020204030204" pitchFamily="34" charset="0"/>
                          <a:ea typeface="Calibri" panose="020F0502020204030204" pitchFamily="34" charset="0"/>
                          <a:cs typeface="Times New Roman" panose="02020603050405020304" charset="0"/>
                        </a:rPr>
                        <a:t>2014</a:t>
                      </a:r>
                      <a:endParaRPr lang="en-IN" sz="1050" dirty="0">
                        <a:effectLst/>
                        <a:latin typeface="Calibri" panose="020F0502020204030204" pitchFamily="34" charset="0"/>
                        <a:ea typeface="Calibri" panose="020F0502020204030204" pitchFamily="34" charset="0"/>
                        <a:cs typeface="Times New Roman" panose="0202060305040502030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fontAlgn="ctr"/>
                      <a:r>
                        <a:rPr lang="en-GB" sz="1050" b="0" i="0" u="none" strike="noStrike">
                          <a:solidFill>
                            <a:srgbClr val="000000"/>
                          </a:solidFill>
                          <a:effectLst/>
                          <a:latin typeface="Calibri" panose="020F0502020204030204" pitchFamily="34" charset="0"/>
                        </a:rPr>
                        <a:t>56.4%</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fontAlgn="ctr"/>
                      <a:r>
                        <a:rPr lang="en-GB" sz="1050" b="0" i="0" u="none" strike="noStrike">
                          <a:solidFill>
                            <a:srgbClr val="000000"/>
                          </a:solidFill>
                          <a:effectLst/>
                          <a:latin typeface="Calibri" panose="020F0502020204030204" pitchFamily="34" charset="0"/>
                        </a:rPr>
                        <a:t>29.9%</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fontAlgn="ctr"/>
                      <a:r>
                        <a:rPr lang="en-GB" sz="1050" b="0" i="0" u="none" strike="noStrike">
                          <a:solidFill>
                            <a:srgbClr val="000000"/>
                          </a:solidFill>
                          <a:effectLst/>
                          <a:latin typeface="Calibri" panose="020F0502020204030204" pitchFamily="34" charset="0"/>
                        </a:rPr>
                        <a:t>37.0%</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fontAlgn="ctr"/>
                      <a:r>
                        <a:rPr lang="en-GB" sz="1050" b="0" i="0" u="none" strike="noStrike">
                          <a:solidFill>
                            <a:srgbClr val="000000"/>
                          </a:solidFill>
                          <a:effectLst/>
                          <a:latin typeface="Calibri" panose="020F0502020204030204" pitchFamily="34" charset="0"/>
                        </a:rPr>
                        <a:t>19.4%</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r>
              <a:tr h="249405">
                <a:tc>
                  <a:txBody>
                    <a:bodyPr/>
                    <a:lstStyle/>
                    <a:p>
                      <a:pPr algn="ctr">
                        <a:spcAft>
                          <a:spcPts val="0"/>
                        </a:spcAft>
                      </a:pPr>
                      <a:r>
                        <a:rPr lang="en-US" sz="1050" b="1" dirty="0">
                          <a:solidFill>
                            <a:srgbClr val="FFFFFF"/>
                          </a:solidFill>
                          <a:effectLst/>
                          <a:latin typeface="Calibri" panose="020F0502020204030204" pitchFamily="34" charset="0"/>
                          <a:ea typeface="Calibri" panose="020F0502020204030204" pitchFamily="34" charset="0"/>
                          <a:cs typeface="Times New Roman" panose="02020603050405020304" charset="0"/>
                        </a:rPr>
                        <a:t>2015</a:t>
                      </a:r>
                      <a:endParaRPr lang="en-IN" sz="1050" dirty="0">
                        <a:effectLst/>
                        <a:latin typeface="Calibri" panose="020F0502020204030204" pitchFamily="34" charset="0"/>
                        <a:ea typeface="Calibri" panose="020F0502020204030204" pitchFamily="34" charset="0"/>
                        <a:cs typeface="Times New Roman" panose="0202060305040502030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fontAlgn="ctr"/>
                      <a:r>
                        <a:rPr lang="en-GB" sz="1050" b="0" i="0" u="none" strike="noStrike">
                          <a:solidFill>
                            <a:srgbClr val="000000"/>
                          </a:solidFill>
                          <a:effectLst/>
                          <a:latin typeface="Calibri" panose="020F0502020204030204" pitchFamily="34" charset="0"/>
                        </a:rPr>
                        <a:t>3.6%</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5.0%</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0.8%</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4.4%</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r>
              <a:tr h="249405">
                <a:tc>
                  <a:txBody>
                    <a:bodyPr/>
                    <a:lstStyle/>
                    <a:p>
                      <a:pPr algn="ctr">
                        <a:spcAft>
                          <a:spcPts val="0"/>
                        </a:spcAft>
                      </a:pPr>
                      <a:r>
                        <a:rPr lang="en-US" sz="1050" b="1" dirty="0">
                          <a:solidFill>
                            <a:srgbClr val="FFFFFF"/>
                          </a:solidFill>
                          <a:effectLst/>
                          <a:latin typeface="Calibri" panose="020F0502020204030204" pitchFamily="34" charset="0"/>
                          <a:ea typeface="Calibri" panose="020F0502020204030204" pitchFamily="34" charset="0"/>
                          <a:cs typeface="Times New Roman" panose="02020603050405020304" charset="0"/>
                        </a:rPr>
                        <a:t>2016</a:t>
                      </a:r>
                      <a:endParaRPr lang="en-IN" sz="1050" dirty="0">
                        <a:effectLst/>
                        <a:latin typeface="Calibri" panose="020F0502020204030204" pitchFamily="34" charset="0"/>
                        <a:ea typeface="Calibri" panose="020F0502020204030204" pitchFamily="34" charset="0"/>
                        <a:cs typeface="Times New Roman" panose="0202060305040502030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fontAlgn="ctr"/>
                      <a:r>
                        <a:rPr lang="en-GB" sz="1050" b="0" i="0" u="none" strike="noStrike">
                          <a:solidFill>
                            <a:srgbClr val="000000"/>
                          </a:solidFill>
                          <a:effectLst/>
                          <a:latin typeface="Calibri" panose="020F0502020204030204" pitchFamily="34" charset="0"/>
                        </a:rPr>
                        <a:t>4.1%</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fontAlgn="ctr"/>
                      <a:r>
                        <a:rPr lang="en-GB" sz="1050" b="0" i="0" u="none" strike="noStrike">
                          <a:solidFill>
                            <a:srgbClr val="000000"/>
                          </a:solidFill>
                          <a:effectLst/>
                          <a:latin typeface="Calibri" panose="020F0502020204030204" pitchFamily="34" charset="0"/>
                        </a:rPr>
                        <a:t>1.9%</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fontAlgn="ctr"/>
                      <a:r>
                        <a:rPr lang="en-GB" sz="1050" b="0" i="0" u="none" strike="noStrike">
                          <a:solidFill>
                            <a:srgbClr val="000000"/>
                          </a:solidFill>
                          <a:effectLst/>
                          <a:latin typeface="Calibri" panose="020F0502020204030204" pitchFamily="34" charset="0"/>
                        </a:rPr>
                        <a:t>3.8%</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fontAlgn="ctr"/>
                      <a:r>
                        <a:rPr lang="en-GB" sz="1050" b="0" i="0" u="none" strike="noStrike">
                          <a:solidFill>
                            <a:srgbClr val="000000"/>
                          </a:solidFill>
                          <a:effectLst/>
                          <a:latin typeface="Calibri" panose="020F0502020204030204" pitchFamily="34" charset="0"/>
                        </a:rPr>
                        <a:t>0.4%</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r>
              <a:tr h="249405">
                <a:tc>
                  <a:txBody>
                    <a:bodyPr/>
                    <a:lstStyle/>
                    <a:p>
                      <a:pPr algn="ctr">
                        <a:spcAft>
                          <a:spcPts val="0"/>
                        </a:spcAft>
                      </a:pPr>
                      <a:r>
                        <a:rPr lang="en-US" sz="1050" b="1" dirty="0">
                          <a:solidFill>
                            <a:srgbClr val="FFFFFF"/>
                          </a:solidFill>
                          <a:effectLst/>
                          <a:latin typeface="Calibri" panose="020F0502020204030204" pitchFamily="34" charset="0"/>
                          <a:ea typeface="Calibri" panose="020F0502020204030204" pitchFamily="34" charset="0"/>
                          <a:cs typeface="Times New Roman" panose="02020603050405020304" charset="0"/>
                        </a:rPr>
                        <a:t>2017</a:t>
                      </a:r>
                      <a:endParaRPr lang="en-IN" sz="1050" dirty="0">
                        <a:effectLst/>
                        <a:latin typeface="Calibri" panose="020F0502020204030204" pitchFamily="34" charset="0"/>
                        <a:ea typeface="Calibri" panose="020F0502020204030204" pitchFamily="34" charset="0"/>
                        <a:cs typeface="Times New Roman" panose="0202060305040502030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fontAlgn="ctr"/>
                      <a:r>
                        <a:rPr lang="en-GB" sz="1050" b="0" i="0" u="none" strike="noStrike">
                          <a:solidFill>
                            <a:srgbClr val="000000"/>
                          </a:solidFill>
                          <a:effectLst/>
                          <a:latin typeface="Calibri" panose="020F0502020204030204" pitchFamily="34" charset="0"/>
                        </a:rPr>
                        <a:t>36.9%</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27.9%</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35.9%</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dirty="0">
                          <a:solidFill>
                            <a:srgbClr val="000000"/>
                          </a:solidFill>
                          <a:effectLst/>
                          <a:latin typeface="Calibri" panose="020F0502020204030204" pitchFamily="34" charset="0"/>
                        </a:rPr>
                        <a:t>1.0%</a:t>
                      </a:r>
                      <a:endParaRPr lang="en-GB" sz="105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r>
              <a:tr h="249405">
                <a:tc>
                  <a:txBody>
                    <a:bodyPr/>
                    <a:lstStyle/>
                    <a:p>
                      <a:pPr algn="ctr">
                        <a:spcAft>
                          <a:spcPts val="0"/>
                        </a:spcAft>
                      </a:pPr>
                      <a:r>
                        <a:rPr lang="en-US" sz="1050" b="1" dirty="0">
                          <a:solidFill>
                            <a:srgbClr val="FFFFFF"/>
                          </a:solidFill>
                          <a:effectLst/>
                          <a:latin typeface="Calibri" panose="020F0502020204030204" pitchFamily="34" charset="0"/>
                          <a:ea typeface="Calibri" panose="020F0502020204030204" pitchFamily="34" charset="0"/>
                          <a:cs typeface="Times New Roman" panose="02020603050405020304" charset="0"/>
                        </a:rPr>
                        <a:t>2018</a:t>
                      </a:r>
                      <a:endParaRPr lang="en-IN" sz="1050" dirty="0">
                        <a:effectLst/>
                        <a:latin typeface="Calibri" panose="020F0502020204030204" pitchFamily="34" charset="0"/>
                        <a:ea typeface="Calibri" panose="020F0502020204030204" pitchFamily="34" charset="0"/>
                        <a:cs typeface="Times New Roman" panose="0202060305040502030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fontAlgn="ctr"/>
                      <a:r>
                        <a:rPr lang="en-GB" sz="1050" b="0" i="0" u="none" strike="noStrike">
                          <a:solidFill>
                            <a:srgbClr val="000000"/>
                          </a:solidFill>
                          <a:effectLst/>
                          <a:latin typeface="Calibri" panose="020F0502020204030204" pitchFamily="34" charset="0"/>
                        </a:rPr>
                        <a:t>-7.7%</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fontAlgn="ctr"/>
                      <a:r>
                        <a:rPr lang="en-GB" sz="1050" b="0" i="0" u="none" strike="noStrike">
                          <a:solidFill>
                            <a:srgbClr val="000000"/>
                          </a:solidFill>
                          <a:effectLst/>
                          <a:latin typeface="Calibri" panose="020F0502020204030204" pitchFamily="34" charset="0"/>
                        </a:rPr>
                        <a:t>5.9%</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fontAlgn="ctr"/>
                      <a:r>
                        <a:rPr lang="en-GB" sz="1050" b="0" i="0" u="none" strike="noStrike">
                          <a:solidFill>
                            <a:srgbClr val="000000"/>
                          </a:solidFill>
                          <a:effectLst/>
                          <a:latin typeface="Calibri" panose="020F0502020204030204" pitchFamily="34" charset="0"/>
                        </a:rPr>
                        <a:t>-3.1%</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c>
                  <a:txBody>
                    <a:bodyPr/>
                    <a:lstStyle/>
                    <a:p>
                      <a:pPr algn="ctr" fontAlgn="ctr"/>
                      <a:r>
                        <a:rPr lang="en-GB" sz="1050" b="0" i="0" u="none" strike="noStrike" dirty="0">
                          <a:solidFill>
                            <a:srgbClr val="FF0000"/>
                          </a:solidFill>
                          <a:effectLst/>
                          <a:latin typeface="Calibri" panose="020F0502020204030204" pitchFamily="34" charset="0"/>
                        </a:rPr>
                        <a:t>-4.6%</a:t>
                      </a:r>
                      <a:endParaRPr lang="en-GB" sz="1050" b="0" i="0" u="none" strike="noStrike" dirty="0">
                        <a:solidFill>
                          <a:srgbClr val="FF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E0DB"/>
                    </a:solidFill>
                  </a:tcPr>
                </a:tc>
              </a:tr>
              <a:tr h="249405">
                <a:tc>
                  <a:txBody>
                    <a:bodyPr/>
                    <a:lstStyle/>
                    <a:p>
                      <a:pPr algn="ctr">
                        <a:spcAft>
                          <a:spcPts val="0"/>
                        </a:spcAft>
                      </a:pPr>
                      <a:r>
                        <a:rPr lang="en-IN" sz="1050" b="1" dirty="0">
                          <a:solidFill>
                            <a:srgbClr val="FFFFFF"/>
                          </a:solidFill>
                          <a:effectLst/>
                          <a:latin typeface="Calibri" panose="020F0502020204030204" pitchFamily="34" charset="0"/>
                          <a:ea typeface="Calibri" panose="020F0502020204030204" pitchFamily="34" charset="0"/>
                          <a:cs typeface="Times New Roman" panose="02020603050405020304" charset="0"/>
                        </a:rPr>
                        <a:t>2019 </a:t>
                      </a:r>
                      <a:endParaRPr lang="en-IN" sz="1050" dirty="0">
                        <a:effectLst/>
                        <a:latin typeface="Calibri" panose="020F0502020204030204" pitchFamily="34" charset="0"/>
                        <a:ea typeface="Calibri" panose="020F0502020204030204" pitchFamily="34" charset="0"/>
                        <a:cs typeface="Times New Roman" panose="0202060305040502030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fontAlgn="ctr"/>
                      <a:r>
                        <a:rPr lang="en-GB" sz="1050" b="0" i="0" u="none" strike="noStrike">
                          <a:solidFill>
                            <a:srgbClr val="000000"/>
                          </a:solidFill>
                          <a:effectLst/>
                          <a:latin typeface="Calibri" panose="020F0502020204030204" pitchFamily="34" charset="0"/>
                        </a:rPr>
                        <a:t>8.4%</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5">
                        <a:lumMod val="10000"/>
                        <a:lumOff val="90000"/>
                      </a:schemeClr>
                    </a:solidFill>
                  </a:tcPr>
                </a:tc>
                <a:tc>
                  <a:txBody>
                    <a:bodyPr/>
                    <a:lstStyle/>
                    <a:p>
                      <a:pPr algn="ctr" fontAlgn="ctr"/>
                      <a:r>
                        <a:rPr lang="en-GB" sz="1050" b="0" i="0" u="none" strike="noStrike">
                          <a:solidFill>
                            <a:srgbClr val="000000"/>
                          </a:solidFill>
                          <a:effectLst/>
                          <a:latin typeface="Calibri" panose="020F0502020204030204" pitchFamily="34" charset="0"/>
                        </a:rPr>
                        <a:t>14.4%</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5">
                        <a:lumMod val="10000"/>
                        <a:lumOff val="90000"/>
                      </a:schemeClr>
                    </a:solidFill>
                  </a:tcPr>
                </a:tc>
                <a:tc>
                  <a:txBody>
                    <a:bodyPr/>
                    <a:lstStyle/>
                    <a:p>
                      <a:pPr algn="ctr" fontAlgn="ctr"/>
                      <a:r>
                        <a:rPr lang="en-GB" sz="1050" b="0" i="0" u="none" strike="noStrike">
                          <a:solidFill>
                            <a:srgbClr val="000000"/>
                          </a:solidFill>
                          <a:effectLst/>
                          <a:latin typeface="Calibri" panose="020F0502020204030204" pitchFamily="34" charset="0"/>
                        </a:rPr>
                        <a:t>7.8%</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5">
                        <a:lumMod val="10000"/>
                        <a:lumOff val="90000"/>
                      </a:schemeClr>
                    </a:solidFill>
                  </a:tcPr>
                </a:tc>
                <a:tc>
                  <a:txBody>
                    <a:bodyPr/>
                    <a:lstStyle/>
                    <a:p>
                      <a:pPr algn="ctr" fontAlgn="ctr"/>
                      <a:r>
                        <a:rPr lang="en-GB" sz="1050" b="0" i="0" u="none" strike="noStrike" dirty="0">
                          <a:solidFill>
                            <a:srgbClr val="000000"/>
                          </a:solidFill>
                          <a:effectLst/>
                          <a:latin typeface="Calibri" panose="020F0502020204030204" pitchFamily="34" charset="0"/>
                        </a:rPr>
                        <a:t>0.6%</a:t>
                      </a:r>
                      <a:endParaRPr lang="en-GB" sz="105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5">
                        <a:lumMod val="10000"/>
                        <a:lumOff val="90000"/>
                      </a:schemeClr>
                    </a:solidFill>
                  </a:tcPr>
                </a:tc>
              </a:tr>
              <a:tr h="249405">
                <a:tc>
                  <a:txBody>
                    <a:bodyPr/>
                    <a:lstStyle/>
                    <a:p>
                      <a:pPr marL="0" algn="ctr" defTabSz="914400" rtl="0" eaLnBrk="1" fontAlgn="ctr" latinLnBrk="1" hangingPunct="1">
                        <a:spcAft>
                          <a:spcPts val="0"/>
                        </a:spcAft>
                      </a:pPr>
                      <a:r>
                        <a:rPr lang="en-IN" sz="1050" b="1" kern="1200" dirty="0">
                          <a:solidFill>
                            <a:schemeClr val="bg1"/>
                          </a:solidFill>
                          <a:effectLst/>
                          <a:latin typeface="Calibri" panose="020F0502020204030204" pitchFamily="34" charset="0"/>
                          <a:ea typeface="Calibri" panose="020F0502020204030204" pitchFamily="34" charset="0"/>
                          <a:cs typeface="Times New Roman" panose="02020603050405020304" charset="0"/>
                        </a:rPr>
                        <a:t>2020</a:t>
                      </a:r>
                      <a:endParaRPr lang="en-IN" sz="1050" b="1" kern="1200" dirty="0">
                        <a:solidFill>
                          <a:schemeClr val="bg1"/>
                        </a:solidFill>
                        <a:effectLst/>
                        <a:latin typeface="Calibri" panose="020F0502020204030204" pitchFamily="34" charset="0"/>
                        <a:ea typeface="Calibri" panose="020F0502020204030204" pitchFamily="34" charset="0"/>
                        <a:cs typeface="Times New Roman" panose="0202060305040502030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fontAlgn="ctr"/>
                      <a:r>
                        <a:rPr lang="en-GB" sz="1050" b="0" i="0" u="none" strike="noStrike">
                          <a:solidFill>
                            <a:srgbClr val="000000"/>
                          </a:solidFill>
                          <a:effectLst/>
                          <a:latin typeface="Calibri" panose="020F0502020204030204" pitchFamily="34" charset="0"/>
                        </a:rPr>
                        <a:t>18.7%</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15.8%</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16.8%</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dirty="0">
                          <a:solidFill>
                            <a:srgbClr val="000000"/>
                          </a:solidFill>
                          <a:effectLst/>
                          <a:latin typeface="Calibri" panose="020F0502020204030204" pitchFamily="34" charset="0"/>
                        </a:rPr>
                        <a:t>1.9%</a:t>
                      </a:r>
                      <a:endParaRPr lang="en-GB" sz="105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r>
              <a:tr h="249405">
                <a:tc>
                  <a:txBody>
                    <a:bodyPr/>
                    <a:lstStyle/>
                    <a:p>
                      <a:pPr algn="ctr" fontAlgn="ctr"/>
                      <a:r>
                        <a:rPr lang="en-IN" sz="1050" b="1" i="0" u="none" strike="noStrike" dirty="0">
                          <a:solidFill>
                            <a:schemeClr val="bg1"/>
                          </a:solidFill>
                          <a:effectLst/>
                          <a:latin typeface="Calibri" panose="020F0502020204030204" pitchFamily="34" charset="0"/>
                        </a:rPr>
                        <a:t>2021</a:t>
                      </a:r>
                      <a:endParaRPr lang="en-IN" sz="1050" b="1" i="0" u="none" strike="noStrike" dirty="0">
                        <a:solidFill>
                          <a:schemeClr val="bg1"/>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fontAlgn="ctr"/>
                      <a:r>
                        <a:rPr lang="en-GB" sz="1050" b="0" i="0" u="none" strike="noStrike">
                          <a:solidFill>
                            <a:srgbClr val="000000"/>
                          </a:solidFill>
                          <a:effectLst/>
                          <a:latin typeface="Calibri" panose="020F0502020204030204" pitchFamily="34" charset="0"/>
                        </a:rPr>
                        <a:t>32.0%</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22.0%</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30.1%</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dirty="0">
                          <a:solidFill>
                            <a:srgbClr val="000000"/>
                          </a:solidFill>
                          <a:effectLst/>
                          <a:latin typeface="Calibri" panose="020F0502020204030204" pitchFamily="34" charset="0"/>
                        </a:rPr>
                        <a:t>1.9%</a:t>
                      </a:r>
                      <a:endParaRPr lang="en-GB" sz="105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r>
              <a:tr h="249405">
                <a:tc>
                  <a:txBody>
                    <a:bodyPr/>
                    <a:lstStyle/>
                    <a:p>
                      <a:pPr algn="ctr" fontAlgn="ctr"/>
                      <a:r>
                        <a:rPr lang="en-IN" sz="1050" b="1" i="0" u="none" strike="noStrike" dirty="0">
                          <a:solidFill>
                            <a:schemeClr val="bg1"/>
                          </a:solidFill>
                          <a:effectLst/>
                          <a:latin typeface="Calibri" panose="020F0502020204030204" pitchFamily="34" charset="0"/>
                        </a:rPr>
                        <a:t> 2022</a:t>
                      </a:r>
                      <a:endParaRPr lang="en-IN" sz="1050" b="1" i="0" u="none" strike="noStrike" dirty="0">
                        <a:solidFill>
                          <a:schemeClr val="bg1"/>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fontAlgn="ctr"/>
                      <a:r>
                        <a:rPr lang="en-GB" sz="1050" b="0" i="0" u="none" strike="noStrike" dirty="0">
                          <a:solidFill>
                            <a:srgbClr val="000000"/>
                          </a:solidFill>
                          <a:effectLst/>
                          <a:latin typeface="Calibri" panose="020F0502020204030204" pitchFamily="34" charset="0"/>
                        </a:rPr>
                        <a:t>-0.2%</a:t>
                      </a:r>
                      <a:endParaRPr lang="en-GB" sz="105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4.4%</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a:solidFill>
                            <a:srgbClr val="000000"/>
                          </a:solidFill>
                          <a:effectLst/>
                          <a:latin typeface="Calibri" panose="020F0502020204030204" pitchFamily="34" charset="0"/>
                        </a:rPr>
                        <a:t>3.3%</a:t>
                      </a:r>
                      <a:endParaRPr lang="en-GB" sz="1050" b="0" i="0" u="none" strike="noStrike">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dirty="0">
                          <a:solidFill>
                            <a:srgbClr val="FF0000"/>
                          </a:solidFill>
                          <a:effectLst/>
                          <a:latin typeface="Calibri" panose="020F0502020204030204" pitchFamily="34" charset="0"/>
                        </a:rPr>
                        <a:t>-3.6%</a:t>
                      </a:r>
                      <a:endParaRPr lang="en-GB" sz="1050" b="0" i="0" u="none" strike="noStrike" dirty="0">
                        <a:solidFill>
                          <a:srgbClr val="FF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r>
              <a:tr h="249405">
                <a:tc>
                  <a:txBody>
                    <a:bodyPr/>
                    <a:lstStyle/>
                    <a:p>
                      <a:pPr algn="ctr" fontAlgn="ctr"/>
                      <a:r>
                        <a:rPr lang="en-IN" sz="1050" b="1" i="0" u="none" strike="noStrike" dirty="0">
                          <a:solidFill>
                            <a:schemeClr val="bg1"/>
                          </a:solidFill>
                          <a:effectLst/>
                          <a:latin typeface="Calibri" panose="020F0502020204030204" pitchFamily="34" charset="0"/>
                        </a:rPr>
                        <a:t>2023 </a:t>
                      </a:r>
                      <a:endParaRPr lang="en-IN" sz="1050" b="1" i="0" u="none" strike="noStrike" dirty="0">
                        <a:solidFill>
                          <a:schemeClr val="bg1"/>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fontAlgn="ctr"/>
                      <a:r>
                        <a:rPr lang="en-GB" sz="1050" b="0" i="0" u="none" strike="noStrike" dirty="0">
                          <a:solidFill>
                            <a:srgbClr val="000000"/>
                          </a:solidFill>
                          <a:effectLst/>
                          <a:latin typeface="Calibri" panose="020F0502020204030204" pitchFamily="34" charset="0"/>
                        </a:rPr>
                        <a:t>26.0%</a:t>
                      </a:r>
                      <a:endParaRPr lang="en-GB" sz="105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dirty="0">
                          <a:solidFill>
                            <a:srgbClr val="000000"/>
                          </a:solidFill>
                          <a:effectLst/>
                          <a:latin typeface="Calibri" panose="020F0502020204030204" pitchFamily="34" charset="0"/>
                        </a:rPr>
                        <a:t>18.7%</a:t>
                      </a:r>
                      <a:endParaRPr lang="en-GB" sz="105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dirty="0">
                          <a:solidFill>
                            <a:srgbClr val="000000"/>
                          </a:solidFill>
                          <a:effectLst/>
                          <a:latin typeface="Calibri" panose="020F0502020204030204" pitchFamily="34" charset="0"/>
                        </a:rPr>
                        <a:t>24.8%</a:t>
                      </a:r>
                      <a:endParaRPr lang="en-GB" sz="105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dirty="0">
                          <a:solidFill>
                            <a:srgbClr val="000000"/>
                          </a:solidFill>
                          <a:effectLst/>
                          <a:latin typeface="Calibri" panose="020F0502020204030204" pitchFamily="34" charset="0"/>
                        </a:rPr>
                        <a:t>1.1%</a:t>
                      </a:r>
                      <a:endParaRPr lang="en-GB" sz="105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r>
              <a:tr h="249405">
                <a:tc>
                  <a:txBody>
                    <a:bodyPr/>
                    <a:lstStyle/>
                    <a:p>
                      <a:pPr marL="0" algn="ctr" defTabSz="914400" rtl="0" eaLnBrk="1" fontAlgn="ctr" latinLnBrk="1" hangingPunct="1"/>
                      <a:r>
                        <a:rPr lang="en-IN" sz="1050" b="1" i="0" u="none" strike="noStrike" kern="1200" dirty="0">
                          <a:solidFill>
                            <a:schemeClr val="bg1"/>
                          </a:solidFill>
                          <a:effectLst/>
                          <a:latin typeface="Calibri" panose="020F0502020204030204" pitchFamily="34" charset="0"/>
                          <a:ea typeface="+mn-ea"/>
                          <a:cs typeface="+mn-cs"/>
                        </a:rPr>
                        <a:t>2024</a:t>
                      </a:r>
                      <a:endParaRPr lang="en-IN" sz="1050" b="1" i="0" u="none" strike="noStrike" kern="1200" dirty="0">
                        <a:solidFill>
                          <a:schemeClr val="bg1"/>
                        </a:solidFill>
                        <a:effectLst/>
                        <a:latin typeface="Calibri" panose="020F050202020403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fontAlgn="ctr"/>
                      <a:r>
                        <a:rPr lang="en-GB" sz="1050" b="0" i="0" u="none" strike="noStrike" dirty="0">
                          <a:solidFill>
                            <a:srgbClr val="000000"/>
                          </a:solidFill>
                          <a:effectLst/>
                          <a:latin typeface="Calibri" panose="020F0502020204030204" pitchFamily="34" charset="0"/>
                        </a:rPr>
                        <a:t>13.1%</a:t>
                      </a:r>
                      <a:endParaRPr lang="en-GB" sz="105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dirty="0">
                          <a:solidFill>
                            <a:srgbClr val="000000"/>
                          </a:solidFill>
                          <a:effectLst/>
                          <a:latin typeface="Calibri" panose="020F0502020204030204" pitchFamily="34" charset="0"/>
                        </a:rPr>
                        <a:t>8.2%</a:t>
                      </a:r>
                      <a:endParaRPr lang="en-GB" sz="105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dirty="0">
                          <a:solidFill>
                            <a:srgbClr val="000000"/>
                          </a:solidFill>
                          <a:effectLst/>
                          <a:latin typeface="Calibri" panose="020F0502020204030204" pitchFamily="34" charset="0"/>
                        </a:rPr>
                        <a:t>14.5%</a:t>
                      </a:r>
                      <a:endParaRPr lang="en-GB" sz="105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0" i="0" u="none" strike="noStrike" dirty="0">
                          <a:solidFill>
                            <a:srgbClr val="FF0000"/>
                          </a:solidFill>
                          <a:effectLst/>
                          <a:latin typeface="Calibri" panose="020F0502020204030204" pitchFamily="34" charset="0"/>
                        </a:rPr>
                        <a:t>-1.4%</a:t>
                      </a:r>
                      <a:endParaRPr lang="en-GB" sz="1050" b="0" i="0" u="none" strike="noStrike" dirty="0">
                        <a:solidFill>
                          <a:srgbClr val="FF0000"/>
                        </a:solidFill>
                        <a:effectLst/>
                        <a:latin typeface="Calibri" panose="020F0502020204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r>
              <a:tr h="249405">
                <a:tc>
                  <a:txBody>
                    <a:bodyPr/>
                    <a:lstStyle/>
                    <a:p>
                      <a:pPr marL="0" algn="ctr" defTabSz="914400" rtl="0" eaLnBrk="1" fontAlgn="ctr" latinLnBrk="1" hangingPunct="1"/>
                      <a:r>
                        <a:rPr lang="en-IN" sz="1050" b="1" i="0" u="none" strike="noStrike" kern="1200" dirty="0">
                          <a:solidFill>
                            <a:schemeClr val="bg1"/>
                          </a:solidFill>
                          <a:effectLst/>
                          <a:latin typeface="Calibri" panose="020F0502020204030204" pitchFamily="34" charset="0"/>
                          <a:ea typeface="+mn-ea"/>
                          <a:cs typeface="+mn-cs"/>
                        </a:rPr>
                        <a:t>2025 YTD (May’25)</a:t>
                      </a:r>
                      <a:endParaRPr lang="en-IN" sz="1050" b="1" i="0" u="none" strike="noStrike" kern="1200" dirty="0">
                        <a:solidFill>
                          <a:schemeClr val="bg1"/>
                        </a:solidFill>
                        <a:effectLst/>
                        <a:latin typeface="Calibri" panose="020F050202020403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rtl="0" fontAlgn="ctr"/>
                      <a:r>
                        <a:rPr lang="en-GB" sz="1050" b="1" i="0" u="none" strike="noStrike">
                          <a:solidFill>
                            <a:srgbClr val="000000"/>
                          </a:solidFill>
                          <a:effectLst/>
                          <a:latin typeface="Calibri" panose="020F0502020204030204" pitchFamily="34" charset="0"/>
                        </a:rPr>
                        <a:t>1.43%</a:t>
                      </a:r>
                      <a:endParaRPr lang="en-GB" sz="1050" b="1" i="0" u="none" strike="noStrike">
                        <a:solidFill>
                          <a:srgbClr val="000000"/>
                        </a:solidFill>
                        <a:effectLst/>
                        <a:latin typeface="Calibri" panose="020F0502020204030204" pitchFamily="34" charset="0"/>
                      </a:endParaRP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rtl="0" fontAlgn="ctr"/>
                      <a:r>
                        <a:rPr lang="en-GB" sz="1050" b="1" i="0" u="none" strike="noStrike">
                          <a:solidFill>
                            <a:srgbClr val="000000"/>
                          </a:solidFill>
                          <a:effectLst/>
                          <a:latin typeface="Calibri" panose="020F0502020204030204" pitchFamily="34" charset="0"/>
                        </a:rPr>
                        <a:t>4.24%</a:t>
                      </a:r>
                      <a:endParaRPr lang="en-GB" sz="1050" b="1" i="0" u="none" strike="noStrike">
                        <a:solidFill>
                          <a:srgbClr val="000000"/>
                        </a:solidFill>
                        <a:effectLst/>
                        <a:latin typeface="Calibri" panose="020F0502020204030204" pitchFamily="34" charset="0"/>
                      </a:endParaRP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rtl="0" fontAlgn="ctr"/>
                      <a:r>
                        <a:rPr lang="en-GB" sz="1050" b="1" i="0" u="none" strike="noStrike">
                          <a:solidFill>
                            <a:srgbClr val="000000"/>
                          </a:solidFill>
                          <a:effectLst/>
                          <a:latin typeface="Calibri" panose="020F0502020204030204" pitchFamily="34" charset="0"/>
                        </a:rPr>
                        <a:t>1.78%</a:t>
                      </a:r>
                      <a:endParaRPr lang="en-GB" sz="1050" b="1" i="0" u="none" strike="noStrike">
                        <a:solidFill>
                          <a:srgbClr val="000000"/>
                        </a:solidFill>
                        <a:effectLst/>
                        <a:latin typeface="Calibri" panose="020F0502020204030204" pitchFamily="34" charset="0"/>
                      </a:endParaRP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fontAlgn="ctr"/>
                      <a:r>
                        <a:rPr lang="en-GB" sz="1050" b="1" i="0" u="none" strike="noStrike">
                          <a:solidFill>
                            <a:srgbClr val="FF0000"/>
                          </a:solidFill>
                          <a:effectLst/>
                          <a:latin typeface="Calibri" panose="020F0502020204030204" pitchFamily="34" charset="0"/>
                        </a:rPr>
                        <a:t>-0.35%</a:t>
                      </a:r>
                      <a:endParaRPr lang="en-GB" sz="1050" b="1" i="0" u="none" strike="noStrike">
                        <a:solidFill>
                          <a:srgbClr val="FF0000"/>
                        </a:solidFill>
                        <a:effectLst/>
                        <a:latin typeface="Calibri" panose="020F0502020204030204" pitchFamily="34" charset="0"/>
                      </a:endParaRP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r>
              <a:tr h="249405">
                <a:tc>
                  <a:txBody>
                    <a:bodyPr/>
                    <a:lstStyle/>
                    <a:p>
                      <a:pPr marL="0" algn="ctr" defTabSz="914400" rtl="0" eaLnBrk="1" fontAlgn="ctr" latinLnBrk="1" hangingPunct="1"/>
                      <a:r>
                        <a:rPr lang="en-US" sz="1050" b="1" i="0" u="none" strike="noStrike" kern="1200" dirty="0">
                          <a:solidFill>
                            <a:schemeClr val="bg1"/>
                          </a:solidFill>
                          <a:effectLst/>
                          <a:latin typeface="Calibri" panose="020F0502020204030204" pitchFamily="34" charset="0"/>
                          <a:ea typeface="+mn-ea"/>
                          <a:cs typeface="+mn-cs"/>
                        </a:rPr>
                        <a:t>CAGR (Dec’09 – May’25)</a:t>
                      </a:r>
                      <a:endParaRPr lang="en-IN" sz="1050" b="1" i="0" u="none" strike="noStrike" kern="1200" dirty="0">
                        <a:solidFill>
                          <a:schemeClr val="bg1"/>
                        </a:solidFill>
                        <a:effectLst/>
                        <a:latin typeface="Calibri" panose="020F0502020204030204" pitchFamily="34" charset="0"/>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3A390"/>
                    </a:solidFill>
                  </a:tcPr>
                </a:tc>
                <a:tc>
                  <a:txBody>
                    <a:bodyPr/>
                    <a:lstStyle/>
                    <a:p>
                      <a:pPr algn="ctr" rtl="0" fontAlgn="ctr"/>
                      <a:r>
                        <a:rPr lang="en-GB" sz="1050" b="1" i="0" u="none" strike="noStrike">
                          <a:solidFill>
                            <a:srgbClr val="000000"/>
                          </a:solidFill>
                          <a:effectLst/>
                          <a:latin typeface="Calibri" panose="020F0502020204030204" pitchFamily="34" charset="0"/>
                        </a:rPr>
                        <a:t>13.39%</a:t>
                      </a:r>
                      <a:endParaRPr lang="en-GB" sz="1050" b="1" i="0" u="none" strike="noStrike">
                        <a:solidFill>
                          <a:srgbClr val="000000"/>
                        </a:solidFill>
                        <a:effectLst/>
                        <a:latin typeface="Calibri" panose="020F0502020204030204" pitchFamily="34" charset="0"/>
                      </a:endParaRP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rtl="0" fontAlgn="ctr"/>
                      <a:r>
                        <a:rPr lang="en-GB" sz="1050" b="1" i="0" u="none" strike="noStrike">
                          <a:solidFill>
                            <a:srgbClr val="000000"/>
                          </a:solidFill>
                          <a:effectLst/>
                          <a:latin typeface="Calibri" panose="020F0502020204030204" pitchFamily="34" charset="0"/>
                        </a:rPr>
                        <a:t>10.50%</a:t>
                      </a:r>
                      <a:endParaRPr lang="en-GB" sz="1050" b="1" i="0" u="none" strike="noStrike">
                        <a:solidFill>
                          <a:srgbClr val="000000"/>
                        </a:solidFill>
                        <a:effectLst/>
                        <a:latin typeface="Calibri" panose="020F0502020204030204" pitchFamily="34" charset="0"/>
                      </a:endParaRP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algn="ctr" rtl="0" fontAlgn="ctr"/>
                      <a:r>
                        <a:rPr lang="en-GB" sz="1050" b="1" i="0" u="none" strike="noStrike" dirty="0">
                          <a:solidFill>
                            <a:srgbClr val="000000"/>
                          </a:solidFill>
                          <a:effectLst/>
                          <a:latin typeface="Calibri" panose="020F0502020204030204" pitchFamily="34" charset="0"/>
                        </a:rPr>
                        <a:t>11.33%</a:t>
                      </a:r>
                      <a:endParaRPr lang="en-GB" sz="105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c>
                  <a:txBody>
                    <a:bodyPr/>
                    <a:lstStyle/>
                    <a:p>
                      <a:pPr marL="0" algn="ctr" defTabSz="914400" rtl="0" eaLnBrk="1" fontAlgn="ctr" latinLnBrk="1" hangingPunct="1"/>
                      <a:r>
                        <a:rPr lang="en-GB" sz="1050" b="1" i="0" u="none" strike="noStrike" kern="1200" dirty="0">
                          <a:solidFill>
                            <a:srgbClr val="000000"/>
                          </a:solidFill>
                          <a:effectLst/>
                          <a:latin typeface="Calibri" panose="020F0502020204030204" pitchFamily="34" charset="0"/>
                          <a:ea typeface="+mn-ea"/>
                          <a:cs typeface="+mn-cs"/>
                        </a:rPr>
                        <a:t>2.06%</a:t>
                      </a:r>
                      <a:endParaRPr lang="en-GB" sz="1050" b="1" i="0" u="none" strike="noStrike" kern="1200" dirty="0">
                        <a:solidFill>
                          <a:srgbClr val="000000"/>
                        </a:solidFill>
                        <a:effectLst/>
                        <a:latin typeface="Calibri" panose="020F0502020204030204" pitchFamily="34" charset="0"/>
                        <a:ea typeface="+mn-ea"/>
                        <a:cs typeface="+mn-cs"/>
                      </a:endParaRP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F0EE"/>
                    </a:solidFill>
                  </a:tcPr>
                </a:tc>
              </a:tr>
            </a:tbl>
          </a:graphicData>
        </a:graphic>
      </p:graphicFrame>
    </p:spTree>
  </p:cSld>
  <p:clrMapOvr>
    <a:masterClrMapping/>
  </p:clrMapOvr>
  <p:transition spd="med">
    <p:fade/>
  </p:transition>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Awesome Slides">
  <a:themeElements>
    <a:clrScheme name="AS_05_Light">
      <a:dk1>
        <a:srgbClr val="000000"/>
      </a:dk1>
      <a:lt1>
        <a:srgbClr val="FFFFFF"/>
      </a:lt1>
      <a:dk2>
        <a:srgbClr val="2F3540"/>
      </a:dk2>
      <a:lt2>
        <a:srgbClr val="FFFFFF"/>
      </a:lt2>
      <a:accent1>
        <a:srgbClr val="43A390"/>
      </a:accent1>
      <a:accent2>
        <a:srgbClr val="43A390"/>
      </a:accent2>
      <a:accent3>
        <a:srgbClr val="FFFFFF"/>
      </a:accent3>
      <a:accent4>
        <a:srgbClr val="000000"/>
      </a:accent4>
      <a:accent5>
        <a:srgbClr val="282D38"/>
      </a:accent5>
      <a:accent6>
        <a:srgbClr val="FFFFFF"/>
      </a:accent6>
      <a:hlink>
        <a:srgbClr val="FFFFFF"/>
      </a:hlink>
      <a:folHlink>
        <a:srgbClr val="43A390"/>
      </a:folHlink>
    </a:clrScheme>
    <a:fontScheme name="Awesome_Slides">
      <a:majorFont>
        <a:latin typeface="Roboto Condensed Regular"/>
        <a:ea typeface="Roboto Condensed Regular"/>
        <a:cs typeface=""/>
      </a:majorFont>
      <a:minorFont>
        <a:latin typeface="Roboto Condensed Light"/>
        <a:ea typeface="Roboto Condensed Light"/>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wesome Slides">
  <a:themeElements>
    <a:clrScheme name="AS_05_Light">
      <a:dk1>
        <a:srgbClr val="000000"/>
      </a:dk1>
      <a:lt1>
        <a:srgbClr val="FFFFFF"/>
      </a:lt1>
      <a:dk2>
        <a:srgbClr val="2F3540"/>
      </a:dk2>
      <a:lt2>
        <a:srgbClr val="FFFFFF"/>
      </a:lt2>
      <a:accent1>
        <a:srgbClr val="43A390"/>
      </a:accent1>
      <a:accent2>
        <a:srgbClr val="43A390"/>
      </a:accent2>
      <a:accent3>
        <a:srgbClr val="FFFFFF"/>
      </a:accent3>
      <a:accent4>
        <a:srgbClr val="000000"/>
      </a:accent4>
      <a:accent5>
        <a:srgbClr val="282D38"/>
      </a:accent5>
      <a:accent6>
        <a:srgbClr val="FFFFFF"/>
      </a:accent6>
      <a:hlink>
        <a:srgbClr val="FFFFFF"/>
      </a:hlink>
      <a:folHlink>
        <a:srgbClr val="43A390"/>
      </a:folHlink>
    </a:clrScheme>
    <a:fontScheme name="Awesome_Slides">
      <a:majorFont>
        <a:latin typeface="Roboto Condensed Regular"/>
        <a:ea typeface="Roboto Condensed Regular"/>
        <a:cs typeface=""/>
      </a:majorFont>
      <a:minorFont>
        <a:latin typeface="Roboto Condensed Light"/>
        <a:ea typeface="Roboto Condensed Light"/>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Awesome Slides">
  <a:themeElements>
    <a:clrScheme name="AS_05_Light">
      <a:dk1>
        <a:srgbClr val="000000"/>
      </a:dk1>
      <a:lt1>
        <a:srgbClr val="FFFFFF"/>
      </a:lt1>
      <a:dk2>
        <a:srgbClr val="2F3540"/>
      </a:dk2>
      <a:lt2>
        <a:srgbClr val="FFFFFF"/>
      </a:lt2>
      <a:accent1>
        <a:srgbClr val="43A390"/>
      </a:accent1>
      <a:accent2>
        <a:srgbClr val="43A390"/>
      </a:accent2>
      <a:accent3>
        <a:srgbClr val="FFFFFF"/>
      </a:accent3>
      <a:accent4>
        <a:srgbClr val="000000"/>
      </a:accent4>
      <a:accent5>
        <a:srgbClr val="282D38"/>
      </a:accent5>
      <a:accent6>
        <a:srgbClr val="FFFFFF"/>
      </a:accent6>
      <a:hlink>
        <a:srgbClr val="FFFFFF"/>
      </a:hlink>
      <a:folHlink>
        <a:srgbClr val="43A390"/>
      </a:folHlink>
    </a:clrScheme>
    <a:fontScheme name="Awesome_Slides">
      <a:majorFont>
        <a:latin typeface="Roboto Condensed Regular"/>
        <a:ea typeface="Roboto Condensed Regular"/>
        <a:cs typeface=""/>
      </a:majorFont>
      <a:minorFont>
        <a:latin typeface="Roboto Condensed Light"/>
        <a:ea typeface="Roboto Condensed Light"/>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AS_05_Light">
    <a:dk1>
      <a:srgbClr val="000000"/>
    </a:dk1>
    <a:lt1>
      <a:srgbClr val="FFFFFF"/>
    </a:lt1>
    <a:dk2>
      <a:srgbClr val="2F3540"/>
    </a:dk2>
    <a:lt2>
      <a:srgbClr val="FFFFFF"/>
    </a:lt2>
    <a:accent1>
      <a:srgbClr val="43A390"/>
    </a:accent1>
    <a:accent2>
      <a:srgbClr val="43A390"/>
    </a:accent2>
    <a:accent3>
      <a:srgbClr val="FFFFFF"/>
    </a:accent3>
    <a:accent4>
      <a:srgbClr val="000000"/>
    </a:accent4>
    <a:accent5>
      <a:srgbClr val="282D38"/>
    </a:accent5>
    <a:accent6>
      <a:srgbClr val="FFFFFF"/>
    </a:accent6>
    <a:hlink>
      <a:srgbClr val="FFFFFF"/>
    </a:hlink>
    <a:folHlink>
      <a:srgbClr val="43A390"/>
    </a:folHlink>
  </a:clrScheme>
  <a:fontScheme name="Awesome_Slides">
    <a:majorFont>
      <a:latin typeface="Roboto Condensed Regular"/>
      <a:ea typeface="Roboto Condensed Regular"/>
      <a:cs typeface=""/>
    </a:majorFont>
    <a:minorFont>
      <a:latin typeface="Roboto Condensed Light"/>
      <a:ea typeface="Roboto Condensed Light"/>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AS_05_Light">
    <a:dk1>
      <a:srgbClr val="000000"/>
    </a:dk1>
    <a:lt1>
      <a:srgbClr val="FFFFFF"/>
    </a:lt1>
    <a:dk2>
      <a:srgbClr val="2F3540"/>
    </a:dk2>
    <a:lt2>
      <a:srgbClr val="FFFFFF"/>
    </a:lt2>
    <a:accent1>
      <a:srgbClr val="43A390"/>
    </a:accent1>
    <a:accent2>
      <a:srgbClr val="43A390"/>
    </a:accent2>
    <a:accent3>
      <a:srgbClr val="FFFFFF"/>
    </a:accent3>
    <a:accent4>
      <a:srgbClr val="000000"/>
    </a:accent4>
    <a:accent5>
      <a:srgbClr val="282D38"/>
    </a:accent5>
    <a:accent6>
      <a:srgbClr val="FFFFFF"/>
    </a:accent6>
    <a:hlink>
      <a:srgbClr val="FFFFFF"/>
    </a:hlink>
    <a:folHlink>
      <a:srgbClr val="43A390"/>
    </a:folHlink>
  </a:clrScheme>
  <a:fontScheme name="Awesome_Slides">
    <a:majorFont>
      <a:latin typeface="Roboto Condensed Regular"/>
      <a:ea typeface="Roboto Condensed Regular"/>
      <a:cs typeface=""/>
    </a:majorFont>
    <a:minorFont>
      <a:latin typeface="Roboto Condensed Light"/>
      <a:ea typeface="Roboto Condensed Light"/>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AS_05_Light">
    <a:dk1>
      <a:srgbClr val="000000"/>
    </a:dk1>
    <a:lt1>
      <a:srgbClr val="FFFFFF"/>
    </a:lt1>
    <a:dk2>
      <a:srgbClr val="2F3540"/>
    </a:dk2>
    <a:lt2>
      <a:srgbClr val="FFFFFF"/>
    </a:lt2>
    <a:accent1>
      <a:srgbClr val="43A390"/>
    </a:accent1>
    <a:accent2>
      <a:srgbClr val="43A390"/>
    </a:accent2>
    <a:accent3>
      <a:srgbClr val="FFFFFF"/>
    </a:accent3>
    <a:accent4>
      <a:srgbClr val="000000"/>
    </a:accent4>
    <a:accent5>
      <a:srgbClr val="282D38"/>
    </a:accent5>
    <a:accent6>
      <a:srgbClr val="FFFFFF"/>
    </a:accent6>
    <a:hlink>
      <a:srgbClr val="FFFFFF"/>
    </a:hlink>
    <a:folHlink>
      <a:srgbClr val="43A390"/>
    </a:folHlink>
  </a:clrScheme>
  <a:fontScheme name="Awesome_Slides">
    <a:majorFont>
      <a:latin typeface="Roboto Condensed Regular"/>
      <a:ea typeface="Roboto Condensed Regular"/>
      <a:cs typeface=""/>
    </a:majorFont>
    <a:minorFont>
      <a:latin typeface="Roboto Condensed Light"/>
      <a:ea typeface="Roboto Condensed Light"/>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AS_05_Light">
    <a:dk1>
      <a:srgbClr val="000000"/>
    </a:dk1>
    <a:lt1>
      <a:srgbClr val="FFFFFF"/>
    </a:lt1>
    <a:dk2>
      <a:srgbClr val="2F3540"/>
    </a:dk2>
    <a:lt2>
      <a:srgbClr val="FFFFFF"/>
    </a:lt2>
    <a:accent1>
      <a:srgbClr val="43A390"/>
    </a:accent1>
    <a:accent2>
      <a:srgbClr val="43A390"/>
    </a:accent2>
    <a:accent3>
      <a:srgbClr val="FFFFFF"/>
    </a:accent3>
    <a:accent4>
      <a:srgbClr val="000000"/>
    </a:accent4>
    <a:accent5>
      <a:srgbClr val="282D38"/>
    </a:accent5>
    <a:accent6>
      <a:srgbClr val="FFFFFF"/>
    </a:accent6>
    <a:hlink>
      <a:srgbClr val="FFFFFF"/>
    </a:hlink>
    <a:folHlink>
      <a:srgbClr val="43A390"/>
    </a:folHlink>
  </a:clrScheme>
  <a:fontScheme name="Awesome_Slides">
    <a:majorFont>
      <a:latin typeface="Roboto Condensed Regular"/>
      <a:ea typeface="Roboto Condensed Regular"/>
      <a:cs typeface=""/>
    </a:majorFont>
    <a:minorFont>
      <a:latin typeface="Roboto Condensed Light"/>
      <a:ea typeface="Roboto Condensed Light"/>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AS_05_Light">
    <a:dk1>
      <a:srgbClr val="000000"/>
    </a:dk1>
    <a:lt1>
      <a:srgbClr val="FFFFFF"/>
    </a:lt1>
    <a:dk2>
      <a:srgbClr val="2F3540"/>
    </a:dk2>
    <a:lt2>
      <a:srgbClr val="FFFFFF"/>
    </a:lt2>
    <a:accent1>
      <a:srgbClr val="43A390"/>
    </a:accent1>
    <a:accent2>
      <a:srgbClr val="43A390"/>
    </a:accent2>
    <a:accent3>
      <a:srgbClr val="FFFFFF"/>
    </a:accent3>
    <a:accent4>
      <a:srgbClr val="000000"/>
    </a:accent4>
    <a:accent5>
      <a:srgbClr val="282D38"/>
    </a:accent5>
    <a:accent6>
      <a:srgbClr val="FFFFFF"/>
    </a:accent6>
    <a:hlink>
      <a:srgbClr val="FFFFFF"/>
    </a:hlink>
    <a:folHlink>
      <a:srgbClr val="43A390"/>
    </a:folHlink>
  </a:clrScheme>
</a:themeOverride>
</file>

<file path=ppt/theme/themeOverride7.xml><?xml version="1.0" encoding="utf-8"?>
<a:themeOverride xmlns:a="http://schemas.openxmlformats.org/drawingml/2006/main">
  <a:clrScheme name="AS_05_Light">
    <a:dk1>
      <a:srgbClr val="000000"/>
    </a:dk1>
    <a:lt1>
      <a:srgbClr val="FFFFFF"/>
    </a:lt1>
    <a:dk2>
      <a:srgbClr val="2F3540"/>
    </a:dk2>
    <a:lt2>
      <a:srgbClr val="FFFFFF"/>
    </a:lt2>
    <a:accent1>
      <a:srgbClr val="43A390"/>
    </a:accent1>
    <a:accent2>
      <a:srgbClr val="43A390"/>
    </a:accent2>
    <a:accent3>
      <a:srgbClr val="FFFFFF"/>
    </a:accent3>
    <a:accent4>
      <a:srgbClr val="000000"/>
    </a:accent4>
    <a:accent5>
      <a:srgbClr val="282D38"/>
    </a:accent5>
    <a:accent6>
      <a:srgbClr val="FFFFFF"/>
    </a:accent6>
    <a:hlink>
      <a:srgbClr val="FFFFFF"/>
    </a:hlink>
    <a:folHlink>
      <a:srgbClr val="43A390"/>
    </a:folHlink>
  </a:clrScheme>
  <a:fontScheme name="Awesome_Slides">
    <a:majorFont>
      <a:latin typeface="Roboto Condensed Regular"/>
      <a:ea typeface="Roboto Condensed Regular"/>
      <a:cs typeface=""/>
    </a:majorFont>
    <a:minorFont>
      <a:latin typeface="Roboto Condensed Light"/>
      <a:ea typeface="Roboto Condensed Light"/>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AS_05_Light">
    <a:dk1>
      <a:srgbClr val="000000"/>
    </a:dk1>
    <a:lt1>
      <a:srgbClr val="FFFFFF"/>
    </a:lt1>
    <a:dk2>
      <a:srgbClr val="2F3540"/>
    </a:dk2>
    <a:lt2>
      <a:srgbClr val="FFFFFF"/>
    </a:lt2>
    <a:accent1>
      <a:srgbClr val="43A390"/>
    </a:accent1>
    <a:accent2>
      <a:srgbClr val="43A390"/>
    </a:accent2>
    <a:accent3>
      <a:srgbClr val="FFFFFF"/>
    </a:accent3>
    <a:accent4>
      <a:srgbClr val="000000"/>
    </a:accent4>
    <a:accent5>
      <a:srgbClr val="282D38"/>
    </a:accent5>
    <a:accent6>
      <a:srgbClr val="FFFFFF"/>
    </a:accent6>
    <a:hlink>
      <a:srgbClr val="FFFFFF"/>
    </a:hlink>
    <a:folHlink>
      <a:srgbClr val="43A390"/>
    </a:folHlink>
  </a:clrScheme>
  <a:fontScheme name="Awesome_Slides">
    <a:majorFont>
      <a:latin typeface="Roboto Condensed Regular"/>
      <a:ea typeface="Roboto Condensed Regular"/>
      <a:cs typeface=""/>
    </a:majorFont>
    <a:minorFont>
      <a:latin typeface="Roboto Condensed Light"/>
      <a:ea typeface="Roboto Condensed Light"/>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15111</Words>
  <Application>WPS Presentation</Application>
  <PresentationFormat>On-screen Show (16:9)</PresentationFormat>
  <Paragraphs>2161</Paragraphs>
  <Slides>20</Slides>
  <Notes>0</Notes>
  <HiddenSlides>0</HiddenSlides>
  <MMClips>0</MMClips>
  <ScaleCrop>false</ScaleCrop>
  <HeadingPairs>
    <vt:vector size="8" baseType="variant">
      <vt:variant>
        <vt:lpstr>已用的字体</vt:lpstr>
      </vt:variant>
      <vt:variant>
        <vt:i4>24</vt:i4>
      </vt:variant>
      <vt:variant>
        <vt:lpstr>主题</vt:lpstr>
      </vt:variant>
      <vt:variant>
        <vt:i4>3</vt:i4>
      </vt:variant>
      <vt:variant>
        <vt:lpstr>嵌入 OLE 服务器</vt:lpstr>
      </vt:variant>
      <vt:variant>
        <vt:i4>0</vt:i4>
      </vt:variant>
      <vt:variant>
        <vt:lpstr>幻灯片标题</vt:lpstr>
      </vt:variant>
      <vt:variant>
        <vt:i4>20</vt:i4>
      </vt:variant>
    </vt:vector>
  </HeadingPairs>
  <TitlesOfParts>
    <vt:vector size="47" baseType="lpstr">
      <vt:lpstr>Arial</vt:lpstr>
      <vt:lpstr>SimSun</vt:lpstr>
      <vt:lpstr>Wingdings</vt:lpstr>
      <vt:lpstr>Roboto Condensed Light</vt:lpstr>
      <vt:lpstr>Segoe Print</vt:lpstr>
      <vt:lpstr>Roboto Condensed Regular</vt:lpstr>
      <vt:lpstr>Gulim</vt:lpstr>
      <vt:lpstr>Bebas Neue</vt:lpstr>
      <vt:lpstr>Roboto Condensed Light</vt:lpstr>
      <vt:lpstr>Roboto Light</vt:lpstr>
      <vt:lpstr>Socialico</vt:lpstr>
      <vt:lpstr>Bebas Neue</vt:lpstr>
      <vt:lpstr>Malgun Gothic</vt:lpstr>
      <vt:lpstr>Arial Narrow</vt:lpstr>
      <vt:lpstr>Calibri</vt:lpstr>
      <vt:lpstr>Roboto Thin</vt:lpstr>
      <vt:lpstr>Wide Latin</vt:lpstr>
      <vt:lpstr>Roboto Medium</vt:lpstr>
      <vt:lpstr>Roboto</vt:lpstr>
      <vt:lpstr>Times New Roman</vt:lpstr>
      <vt:lpstr>Microsoft YaHei</vt:lpstr>
      <vt:lpstr>Arial Unicode MS</vt:lpstr>
      <vt:lpstr>Bebas Neue Light</vt:lpstr>
      <vt:lpstr>Tahoma</vt:lpstr>
      <vt:lpstr>Awesome Slides</vt:lpstr>
      <vt:lpstr>1_Awesome Slides</vt:lpstr>
      <vt:lpstr>2_Awesome Slides</vt:lpstr>
      <vt:lpstr>PowerPoint 演示文稿</vt:lpstr>
      <vt:lpstr>PowerPoint 演示文稿</vt:lpstr>
      <vt:lpstr>Investment Management Processes</vt:lpstr>
      <vt:lpstr>Manager/Fund Selection </vt:lpstr>
      <vt:lpstr>PowerPoint 演示文稿</vt:lpstr>
      <vt:lpstr>PowerPoint 演示文稿</vt:lpstr>
      <vt:lpstr>Market Cap/Style Box (Indian Equity Managers)</vt:lpstr>
      <vt:lpstr>PowerPoint 演示文稿</vt:lpstr>
      <vt:lpstr>CA Equity Model Portfolio Performance</vt:lpstr>
      <vt:lpstr>CA Multi-Manager Portfolio</vt:lpstr>
      <vt:lpstr> CA Multi-Manager Portfolio: Key Highlights</vt:lpstr>
      <vt:lpstr>CA Multi-Manager Portfolio Performance as on 31st May’25</vt:lpstr>
      <vt:lpstr>PowerPoint 演示文稿</vt:lpstr>
      <vt:lpstr>PowerPoint 演示文稿</vt:lpstr>
      <vt:lpstr>PowerPoint 演示文稿</vt:lpstr>
      <vt:lpstr>PowerPoint 演示文稿</vt:lpstr>
      <vt:lpstr>PowerPoint 演示文稿</vt:lpstr>
      <vt:lpstr>PowerPoint 演示文稿</vt:lpstr>
      <vt:lpstr>Key Terms</vt:lpstr>
      <vt:lpstr>Disclaimer</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lunik</dc:creator>
  <cp:lastModifiedBy>bot noob</cp:lastModifiedBy>
  <cp:revision>2730</cp:revision>
  <dcterms:created xsi:type="dcterms:W3CDTF">2014-02-18T01:25:00Z</dcterms:created>
  <dcterms:modified xsi:type="dcterms:W3CDTF">2025-07-14T06:40: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AE1FA0F9FF1E4C748B5C7DB70546D513_12</vt:lpwstr>
  </property>
  <property fmtid="{D5CDD505-2E9C-101B-9397-08002B2CF9AE}" pid="3" name="KSOProductBuildVer">
    <vt:lpwstr>2057-12.2.0.21602</vt:lpwstr>
  </property>
</Properties>
</file>